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8"/>
  </p:notesMasterIdLst>
  <p:sldIdLst>
    <p:sldId id="257" r:id="rId2"/>
    <p:sldId id="261" r:id="rId3"/>
    <p:sldId id="259" r:id="rId4"/>
    <p:sldId id="260" r:id="rId5"/>
    <p:sldId id="262" r:id="rId6"/>
    <p:sldId id="263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7E7E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49"/>
    <p:restoredTop sz="94637"/>
  </p:normalViewPr>
  <p:slideViewPr>
    <p:cSldViewPr snapToGrid="0" snapToObjects="1">
      <p:cViewPr varScale="1">
        <p:scale>
          <a:sx n="105" d="100"/>
          <a:sy n="105" d="100"/>
        </p:scale>
        <p:origin x="32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FFEDA5-B140-334E-AAB8-C04223421814}" type="datetimeFigureOut">
              <a:rPr lang="en-US" smtClean="0"/>
              <a:t>7/7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C5D924-A45E-B34D-9235-C0A5208FC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51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6E4857-65C7-7D47-8DE9-001E6FF8ABC9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09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6E4857-65C7-7D47-8DE9-001E6FF8ABC9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5820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6E4857-65C7-7D47-8DE9-001E6FF8ABC9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230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62900" y="2015067"/>
            <a:ext cx="3657600" cy="1909762"/>
          </a:xfrm>
        </p:spPr>
        <p:txBody>
          <a:bodyPr anchor="b"/>
          <a:lstStyle>
            <a:lvl1pPr algn="l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001000" y="5410198"/>
            <a:ext cx="3657600" cy="838201"/>
          </a:xfrm>
        </p:spPr>
        <p:txBody>
          <a:bodyPr>
            <a:no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962900" y="5410199"/>
            <a:ext cx="0" cy="838201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FFDEC0B-F648-BA47-B740-33CC3DD01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405" b="-515"/>
          <a:stretch/>
        </p:blipFill>
        <p:spPr>
          <a:xfrm>
            <a:off x="8732479" y="649080"/>
            <a:ext cx="456677" cy="44594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6C48AB6-17EA-D742-B059-6EFF23E227AC}"/>
              </a:ext>
            </a:extLst>
          </p:cNvPr>
          <p:cNvSpPr txBox="1"/>
          <p:nvPr userDrawn="1"/>
        </p:nvSpPr>
        <p:spPr>
          <a:xfrm>
            <a:off x="9215709" y="687385"/>
            <a:ext cx="15840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LEARNING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07655"/>
            <a:ext cx="10515600" cy="1325563"/>
          </a:xfrm>
        </p:spPr>
        <p:txBody>
          <a:bodyPr>
            <a:normAutofit/>
          </a:bodyPr>
          <a:lstStyle>
            <a:lvl1pPr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Baskerville" charset="0"/>
                <a:ea typeface="Baskerville" charset="0"/>
                <a:cs typeface="Baskerville" charset="0"/>
              </a:defRPr>
            </a:lvl1pPr>
          </a:lstStyle>
          <a:p>
            <a:fld id="{29AF5079-4363-884B-816E-D579802C49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741051"/>
            <a:ext cx="0" cy="949637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0091" y="741051"/>
            <a:ext cx="573709" cy="57370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AF5079-4363-884B-816E-D579802C49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478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/>
        <a:buChar char="•"/>
        <a:defRPr sz="28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7030A0"/>
        </a:buClr>
        <a:buFont typeface=".AppleSystemUIFont" charset="-120"/>
        <a:buChar char="−"/>
        <a:defRPr sz="24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7030A0"/>
        </a:buClr>
        <a:buFont typeface=".AppleSystemUIFont" charset="-120"/>
        <a:buChar char="−"/>
        <a:defRPr sz="20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7030A0"/>
        </a:buClr>
        <a:buFont typeface=".AppleSystemUIFont" charset="-120"/>
        <a:buChar char="−"/>
        <a:defRPr sz="18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7030A0"/>
        </a:buClr>
        <a:buFont typeface=".AppleSystemUIFont" charset="-120"/>
        <a:buChar char="−"/>
        <a:defRPr sz="18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tags" Target="../tags/tag10.xml"/><Relationship Id="rId12" Type="http://schemas.openxmlformats.org/officeDocument/2006/relationships/tags" Target="../tags/tag11.xml"/><Relationship Id="rId13" Type="http://schemas.openxmlformats.org/officeDocument/2006/relationships/slideLayout" Target="../slideLayouts/slideLayout2.xml"/><Relationship Id="rId14" Type="http://schemas.openxmlformats.org/officeDocument/2006/relationships/notesSlide" Target="../notesSlides/notesSlide1.xml"/><Relationship Id="rId15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9" Type="http://schemas.openxmlformats.org/officeDocument/2006/relationships/tags" Target="../tags/tag8.xml"/><Relationship Id="rId10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19.xml"/><Relationship Id="rId20" Type="http://schemas.openxmlformats.org/officeDocument/2006/relationships/notesSlide" Target="../notesSlides/notesSlide2.xml"/><Relationship Id="rId21" Type="http://schemas.openxmlformats.org/officeDocument/2006/relationships/oleObject" Target="../embeddings/oleObject2.bin"/><Relationship Id="rId10" Type="http://schemas.openxmlformats.org/officeDocument/2006/relationships/tags" Target="../tags/tag20.xml"/><Relationship Id="rId11" Type="http://schemas.openxmlformats.org/officeDocument/2006/relationships/tags" Target="../tags/tag21.xml"/><Relationship Id="rId12" Type="http://schemas.openxmlformats.org/officeDocument/2006/relationships/tags" Target="../tags/tag22.xml"/><Relationship Id="rId13" Type="http://schemas.openxmlformats.org/officeDocument/2006/relationships/tags" Target="../tags/tag23.xml"/><Relationship Id="rId14" Type="http://schemas.openxmlformats.org/officeDocument/2006/relationships/tags" Target="../tags/tag24.xml"/><Relationship Id="rId15" Type="http://schemas.openxmlformats.org/officeDocument/2006/relationships/tags" Target="../tags/tag25.xml"/><Relationship Id="rId16" Type="http://schemas.openxmlformats.org/officeDocument/2006/relationships/tags" Target="../tags/tag26.xml"/><Relationship Id="rId17" Type="http://schemas.openxmlformats.org/officeDocument/2006/relationships/tags" Target="../tags/tag27.xml"/><Relationship Id="rId18" Type="http://schemas.openxmlformats.org/officeDocument/2006/relationships/tags" Target="../tags/tag28.xml"/><Relationship Id="rId19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tags" Target="../tags/tag31.xml"/><Relationship Id="rId5" Type="http://schemas.openxmlformats.org/officeDocument/2006/relationships/tags" Target="../tags/tag32.xml"/><Relationship Id="rId6" Type="http://schemas.openxmlformats.org/officeDocument/2006/relationships/tags" Target="../tags/tag33.xml"/><Relationship Id="rId7" Type="http://schemas.openxmlformats.org/officeDocument/2006/relationships/slideLayout" Target="../slideLayouts/slideLayout2.xml"/><Relationship Id="rId8" Type="http://schemas.openxmlformats.org/officeDocument/2006/relationships/notesSlide" Target="../notesSlides/notesSlide3.xml"/><Relationship Id="rId9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2" Type="http://schemas.openxmlformats.org/officeDocument/2006/relationships/tags" Target="../tags/tag29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tags" Target="../tags/tag43.xml"/><Relationship Id="rId12" Type="http://schemas.openxmlformats.org/officeDocument/2006/relationships/slideLayout" Target="../slideLayouts/slideLayout2.xml"/><Relationship Id="rId13" Type="http://schemas.openxmlformats.org/officeDocument/2006/relationships/oleObject" Target="../embeddings/oleObject4.bin"/><Relationship Id="rId14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34.xml"/><Relationship Id="rId3" Type="http://schemas.openxmlformats.org/officeDocument/2006/relationships/tags" Target="../tags/tag35.xml"/><Relationship Id="rId4" Type="http://schemas.openxmlformats.org/officeDocument/2006/relationships/tags" Target="../tags/tag36.xml"/><Relationship Id="rId5" Type="http://schemas.openxmlformats.org/officeDocument/2006/relationships/tags" Target="../tags/tag37.xml"/><Relationship Id="rId6" Type="http://schemas.openxmlformats.org/officeDocument/2006/relationships/tags" Target="../tags/tag38.xml"/><Relationship Id="rId7" Type="http://schemas.openxmlformats.org/officeDocument/2006/relationships/tags" Target="../tags/tag39.xml"/><Relationship Id="rId8" Type="http://schemas.openxmlformats.org/officeDocument/2006/relationships/tags" Target="../tags/tag40.xml"/><Relationship Id="rId9" Type="http://schemas.openxmlformats.org/officeDocument/2006/relationships/tags" Target="../tags/tag41.xml"/><Relationship Id="rId10" Type="http://schemas.openxmlformats.org/officeDocument/2006/relationships/tags" Target="../tags/tag42.xml"/></Relationships>
</file>

<file path=ppt/slides/_rels/slide5.xml.rels><?xml version="1.0" encoding="UTF-8" standalone="yes"?>
<Relationships xmlns="http://schemas.openxmlformats.org/package/2006/relationships"><Relationship Id="rId20" Type="http://schemas.openxmlformats.org/officeDocument/2006/relationships/tags" Target="../tags/tag62.xml"/><Relationship Id="rId21" Type="http://schemas.openxmlformats.org/officeDocument/2006/relationships/tags" Target="../tags/tag63.xml"/><Relationship Id="rId22" Type="http://schemas.openxmlformats.org/officeDocument/2006/relationships/tags" Target="../tags/tag64.xml"/><Relationship Id="rId23" Type="http://schemas.openxmlformats.org/officeDocument/2006/relationships/tags" Target="../tags/tag65.xml"/><Relationship Id="rId24" Type="http://schemas.openxmlformats.org/officeDocument/2006/relationships/tags" Target="../tags/tag66.xml"/><Relationship Id="rId25" Type="http://schemas.openxmlformats.org/officeDocument/2006/relationships/tags" Target="../tags/tag67.xml"/><Relationship Id="rId26" Type="http://schemas.openxmlformats.org/officeDocument/2006/relationships/tags" Target="../tags/tag68.xml"/><Relationship Id="rId27" Type="http://schemas.openxmlformats.org/officeDocument/2006/relationships/tags" Target="../tags/tag69.xml"/><Relationship Id="rId28" Type="http://schemas.openxmlformats.org/officeDocument/2006/relationships/tags" Target="../tags/tag70.xml"/><Relationship Id="rId29" Type="http://schemas.openxmlformats.org/officeDocument/2006/relationships/tags" Target="../tags/tag71.xml"/><Relationship Id="rId1" Type="http://schemas.openxmlformats.org/officeDocument/2006/relationships/vmlDrawing" Target="../drawings/vmlDrawing5.vml"/><Relationship Id="rId2" Type="http://schemas.openxmlformats.org/officeDocument/2006/relationships/tags" Target="../tags/tag44.xml"/><Relationship Id="rId3" Type="http://schemas.openxmlformats.org/officeDocument/2006/relationships/tags" Target="../tags/tag45.xml"/><Relationship Id="rId4" Type="http://schemas.openxmlformats.org/officeDocument/2006/relationships/tags" Target="../tags/tag46.xml"/><Relationship Id="rId5" Type="http://schemas.openxmlformats.org/officeDocument/2006/relationships/tags" Target="../tags/tag47.xml"/><Relationship Id="rId30" Type="http://schemas.openxmlformats.org/officeDocument/2006/relationships/tags" Target="../tags/tag72.xml"/><Relationship Id="rId31" Type="http://schemas.openxmlformats.org/officeDocument/2006/relationships/tags" Target="../tags/tag73.xml"/><Relationship Id="rId32" Type="http://schemas.openxmlformats.org/officeDocument/2006/relationships/slideLayout" Target="../slideLayouts/slideLayout2.xml"/><Relationship Id="rId9" Type="http://schemas.openxmlformats.org/officeDocument/2006/relationships/tags" Target="../tags/tag51.xml"/><Relationship Id="rId6" Type="http://schemas.openxmlformats.org/officeDocument/2006/relationships/tags" Target="../tags/tag48.xml"/><Relationship Id="rId7" Type="http://schemas.openxmlformats.org/officeDocument/2006/relationships/tags" Target="../tags/tag49.xml"/><Relationship Id="rId8" Type="http://schemas.openxmlformats.org/officeDocument/2006/relationships/tags" Target="../tags/tag50.xml"/><Relationship Id="rId33" Type="http://schemas.openxmlformats.org/officeDocument/2006/relationships/oleObject" Target="../embeddings/oleObject5.bin"/><Relationship Id="rId34" Type="http://schemas.openxmlformats.org/officeDocument/2006/relationships/image" Target="../media/image4.emf"/><Relationship Id="rId10" Type="http://schemas.openxmlformats.org/officeDocument/2006/relationships/tags" Target="../tags/tag52.xml"/><Relationship Id="rId11" Type="http://schemas.openxmlformats.org/officeDocument/2006/relationships/tags" Target="../tags/tag53.xml"/><Relationship Id="rId12" Type="http://schemas.openxmlformats.org/officeDocument/2006/relationships/tags" Target="../tags/tag54.xml"/><Relationship Id="rId13" Type="http://schemas.openxmlformats.org/officeDocument/2006/relationships/tags" Target="../tags/tag55.xml"/><Relationship Id="rId14" Type="http://schemas.openxmlformats.org/officeDocument/2006/relationships/tags" Target="../tags/tag56.xml"/><Relationship Id="rId15" Type="http://schemas.openxmlformats.org/officeDocument/2006/relationships/tags" Target="../tags/tag57.xml"/><Relationship Id="rId16" Type="http://schemas.openxmlformats.org/officeDocument/2006/relationships/tags" Target="../tags/tag58.xml"/><Relationship Id="rId17" Type="http://schemas.openxmlformats.org/officeDocument/2006/relationships/tags" Target="../tags/tag59.xml"/><Relationship Id="rId18" Type="http://schemas.openxmlformats.org/officeDocument/2006/relationships/tags" Target="../tags/tag60.xml"/><Relationship Id="rId19" Type="http://schemas.openxmlformats.org/officeDocument/2006/relationships/tags" Target="../tags/tag6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003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8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0035" name="AutoShap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H="1">
            <a:off x="7896225" y="2238375"/>
            <a:ext cx="2554288" cy="4070350"/>
          </a:xfrm>
          <a:prstGeom prst="homePlate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144000" tIns="324000" rIns="288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20000"/>
              </a:spcAft>
            </a:pPr>
            <a:endParaRPr lang="en-US" altLang="en-US" sz="12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0036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11701" y="2238375"/>
            <a:ext cx="3298825" cy="4070350"/>
          </a:xfrm>
          <a:prstGeom prst="homePlate">
            <a:avLst>
              <a:gd name="adj" fmla="val 12778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144000" tIns="324000" rIns="288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20000"/>
              </a:spcAft>
            </a:pPr>
            <a:endParaRPr lang="en-US" altLang="en-US" sz="12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0037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45030" y="2238375"/>
            <a:ext cx="3755572" cy="4070350"/>
          </a:xfrm>
          <a:prstGeom prst="homePlate">
            <a:avLst>
              <a:gd name="adj" fmla="val 12778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144000" tIns="324000" rIns="288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20000"/>
              </a:spcAft>
            </a:pPr>
            <a:endParaRPr lang="en-US" altLang="en-US" sz="1200">
              <a:ln>
                <a:solidFill>
                  <a:prstClr val="white">
                    <a:lumMod val="95000"/>
                  </a:prstClr>
                </a:solidFill>
              </a:ln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003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890264" y="1782373"/>
            <a:ext cx="2541588" cy="466725"/>
          </a:xfrm>
          <a:prstGeom prst="rect">
            <a:avLst/>
          </a:prstGeom>
          <a:solidFill>
            <a:schemeClr val="bg1"/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108000" tIns="36000" rIns="36000" bIns="36000" anchor="ctr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20000"/>
              </a:spcAft>
            </a:pPr>
            <a:r>
              <a:rPr lang="en-US" altLang="en-US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Key Questions</a:t>
            </a:r>
          </a:p>
        </p:txBody>
      </p:sp>
      <p:sp>
        <p:nvSpPr>
          <p:cNvPr id="300039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45031" y="1763712"/>
            <a:ext cx="3406710" cy="466725"/>
          </a:xfrm>
          <a:prstGeom prst="rect">
            <a:avLst/>
          </a:prstGeom>
          <a:solidFill>
            <a:schemeClr val="bg1"/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6000" rIns="0" bIns="36000" anchor="ctr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20000"/>
              </a:spcAft>
            </a:pPr>
            <a:r>
              <a:rPr lang="en-US" altLang="en-US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Current Situation</a:t>
            </a:r>
          </a:p>
        </p:txBody>
      </p:sp>
      <p:sp>
        <p:nvSpPr>
          <p:cNvPr id="300040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194318" y="2390775"/>
            <a:ext cx="3276082" cy="3702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42913" indent="-247650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625475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808038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652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224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796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368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50000"/>
              </a:spcAft>
            </a:pPr>
            <a:r>
              <a:rPr lang="mr-IN" altLang="en-US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altLang="en-US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0043" name="Rectangle 11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altLang="en-US" dirty="0" smtClean="0"/>
              <a:t>SCQ - TEMPLATE</a:t>
            </a:r>
            <a:endParaRPr lang="en-US" altLang="en-US" dirty="0"/>
          </a:p>
        </p:txBody>
      </p:sp>
      <p:sp>
        <p:nvSpPr>
          <p:cNvPr id="300044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693039" y="1763712"/>
            <a:ext cx="2820988" cy="466725"/>
          </a:xfrm>
          <a:prstGeom prst="rect">
            <a:avLst/>
          </a:prstGeom>
          <a:solidFill>
            <a:schemeClr val="bg1"/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6000" rIns="0" bIns="36000" anchor="ctr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20000"/>
              </a:spcAft>
            </a:pPr>
            <a:r>
              <a:rPr lang="en-US" altLang="en-US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Challenges &amp; Complications</a:t>
            </a:r>
          </a:p>
        </p:txBody>
      </p:sp>
      <p:sp>
        <p:nvSpPr>
          <p:cNvPr id="300045" name="Rectangle 13"/>
          <p:cNvSpPr>
            <a:spLocks noChangeArrowheads="1"/>
          </p:cNvSpPr>
          <p:nvPr/>
        </p:nvSpPr>
        <p:spPr bwMode="gray">
          <a:xfrm>
            <a:off x="4848225" y="2390776"/>
            <a:ext cx="2681288" cy="3281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80975" indent="-180975"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360363" indent="-17780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973138" indent="-247650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3335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693863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151063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608263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065463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522663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50000"/>
              </a:spcAft>
              <a:buClrTx/>
              <a:buFontTx/>
              <a:buChar char="•"/>
            </a:pPr>
            <a:r>
              <a:rPr lang="mr-IN" altLang="en-US" b="1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altLang="en-US" b="1" dirty="0" smtClean="0">
              <a:latin typeface="Baskerville" charset="0"/>
              <a:ea typeface="Baskerville" charset="0"/>
              <a:cs typeface="Baskerville" charset="0"/>
            </a:endParaRPr>
          </a:p>
          <a:p>
            <a:pPr>
              <a:spcAft>
                <a:spcPct val="50000"/>
              </a:spcAft>
              <a:buClrTx/>
              <a:buFontTx/>
              <a:buChar char="•"/>
            </a:pPr>
            <a:r>
              <a:rPr lang="mr-IN" altLang="en-US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r>
              <a:rPr lang="en-US" altLang="en-US" dirty="0" smtClean="0">
                <a:latin typeface="Baskerville" charset="0"/>
                <a:ea typeface="Baskerville" charset="0"/>
                <a:cs typeface="Baskerville" charset="0"/>
              </a:rPr>
              <a:t>.</a:t>
            </a:r>
            <a:endParaRPr lang="en-US" altLang="en-US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0046" name="Line 14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4310063" y="2295525"/>
            <a:ext cx="3984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endParaRPr lang="en-US" sz="12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0047" name="Line 15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6126163" y="2295525"/>
            <a:ext cx="3984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endParaRPr lang="en-US" sz="12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gray">
          <a:xfrm>
            <a:off x="8170545" y="2470024"/>
            <a:ext cx="2681288" cy="3281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80975" indent="-180975"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360363" indent="-17780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973138" indent="-247650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3335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693863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151063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608263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065463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522663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50000"/>
              </a:spcAft>
              <a:buClrTx/>
              <a:buFontTx/>
              <a:buChar char="•"/>
            </a:pPr>
            <a:r>
              <a:rPr lang="mr-IN" altLang="en-US" b="1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altLang="en-US" b="1" dirty="0" smtClean="0">
              <a:latin typeface="Baskerville" charset="0"/>
              <a:ea typeface="Baskerville" charset="0"/>
              <a:cs typeface="Baskerville" charset="0"/>
            </a:endParaRPr>
          </a:p>
          <a:p>
            <a:pPr>
              <a:spcAft>
                <a:spcPct val="50000"/>
              </a:spcAft>
              <a:buClrTx/>
              <a:buFontTx/>
              <a:buChar char="•"/>
            </a:pPr>
            <a:r>
              <a:rPr lang="mr-IN" altLang="en-US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r>
              <a:rPr lang="en-US" altLang="en-US" dirty="0" smtClean="0">
                <a:latin typeface="Baskerville" charset="0"/>
                <a:ea typeface="Baskerville" charset="0"/>
                <a:cs typeface="Baskerville" charset="0"/>
              </a:rPr>
              <a:t>.</a:t>
            </a:r>
            <a:endParaRPr lang="en-US" altLang="en-US" b="1" dirty="0">
              <a:latin typeface="Baskerville" charset="0"/>
              <a:ea typeface="Baskerville" charset="0"/>
              <a:cs typeface="Baskervill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44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003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8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0043" name="Rectangle 1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en-US" dirty="0"/>
              <a:t>Scope - TEMPLAT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6743562" y="2386861"/>
            <a:ext cx="3108960" cy="3383280"/>
          </a:xfrm>
          <a:prstGeom prst="rect">
            <a:avLst/>
          </a:prstGeom>
          <a:solidFill>
            <a:srgbClr val="F6F6F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9536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3604122" y="2386861"/>
            <a:ext cx="3108960" cy="3383280"/>
          </a:xfrm>
          <a:prstGeom prst="rect">
            <a:avLst/>
          </a:prstGeom>
          <a:solidFill>
            <a:srgbClr val="F6F6F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9536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6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68947" y="2586947"/>
            <a:ext cx="1974215" cy="9429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square" lIns="72000" tIns="36000" rIns="0" bIns="36000" anchor="ctr">
            <a:noAutofit/>
          </a:bodyPr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000000"/>
              </a:buClr>
              <a:buSzPct val="100000"/>
              <a:buFontTx/>
              <a:buChar char=" "/>
              <a:tabLst/>
              <a:defRPr/>
            </a:pPr>
            <a:r>
              <a:rPr kumimoji="0" lang="en-US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Product</a:t>
            </a:r>
          </a:p>
        </p:txBody>
      </p:sp>
      <p:sp>
        <p:nvSpPr>
          <p:cNvPr id="37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775687" y="1846812"/>
            <a:ext cx="2820988" cy="6521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72000" tIns="36000" rIns="0" bIns="36000" anchor="ctr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000000"/>
              </a:buClr>
              <a:buSzPct val="100000"/>
              <a:buFontTx/>
              <a:buChar char=" "/>
              <a:tabLst/>
              <a:defRPr/>
            </a:pPr>
            <a:r>
              <a:rPr kumimoji="0" lang="en-US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Included</a:t>
            </a:r>
          </a:p>
        </p:txBody>
      </p:sp>
      <p:sp>
        <p:nvSpPr>
          <p:cNvPr id="38" name="Line 18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3875585" y="2365906"/>
            <a:ext cx="3984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000000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9" name="Line 19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5691685" y="2365906"/>
            <a:ext cx="3984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000000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0" name="Rectangle 3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553707" y="3653747"/>
            <a:ext cx="1974215" cy="9429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square" lIns="72000" tIns="36000" rIns="0" bIns="36000" anchor="ctr">
            <a:noAutofit/>
          </a:bodyPr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000000"/>
              </a:buClr>
              <a:buSzPct val="100000"/>
              <a:buFontTx/>
              <a:buChar char=" "/>
              <a:tabLst/>
              <a:defRPr/>
            </a:pPr>
            <a:r>
              <a:rPr kumimoji="0" lang="en-US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Geography</a:t>
            </a:r>
          </a:p>
        </p:txBody>
      </p:sp>
      <p:sp>
        <p:nvSpPr>
          <p:cNvPr id="41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553707" y="4705307"/>
            <a:ext cx="1974215" cy="9429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square" lIns="72000" tIns="36000" rIns="0" bIns="36000" anchor="ctr">
            <a:noAutofit/>
          </a:bodyPr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000000"/>
              </a:buClr>
              <a:buSzPct val="100000"/>
              <a:buFontTx/>
              <a:buChar char=" "/>
              <a:tabLst/>
              <a:defRPr/>
            </a:pPr>
            <a:r>
              <a:rPr kumimoji="0" lang="en-US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Market</a:t>
            </a:r>
            <a:r>
              <a:rPr kumimoji="0" lang="en-US" altLang="en-US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 Segments</a:t>
            </a:r>
            <a:endParaRPr kumimoji="0" lang="en-US" altLang="en-US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2" name="Text Box 2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780652" y="2615144"/>
            <a:ext cx="2444750" cy="84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333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80975" indent="-180975" defTabSz="995363">
              <a:defRPr sz="2400">
                <a:solidFill>
                  <a:schemeClr val="tx1"/>
                </a:solidFill>
                <a:latin typeface="Arial" charset="0"/>
              </a:defRPr>
            </a:lvl1pPr>
            <a:lvl2pPr defTabSz="995363">
              <a:defRPr sz="2400">
                <a:solidFill>
                  <a:schemeClr val="tx1"/>
                </a:solidFill>
                <a:latin typeface="Arial" charset="0"/>
              </a:defRPr>
            </a:lvl2pPr>
            <a:lvl3pPr defTabSz="995363">
              <a:defRPr sz="2400">
                <a:solidFill>
                  <a:schemeClr val="tx1"/>
                </a:solidFill>
                <a:latin typeface="Arial" charset="0"/>
              </a:defRPr>
            </a:lvl3pPr>
            <a:lvl4pPr defTabSz="995363">
              <a:defRPr sz="2400">
                <a:solidFill>
                  <a:schemeClr val="tx1"/>
                </a:solidFill>
                <a:latin typeface="Arial" charset="0"/>
              </a:defRPr>
            </a:lvl4pPr>
            <a:lvl5pPr defTabSz="995363">
              <a:defRPr sz="2400">
                <a:solidFill>
                  <a:schemeClr val="tx1"/>
                </a:solidFill>
                <a:latin typeface="Arial" charset="0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975" marR="0" lvl="0" indent="-180975" defTabSz="995363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mr-I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…</a:t>
            </a:r>
            <a:endParaRPr kumimoji="0" lang="en-US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3" name="Text Box 2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750172" y="3758144"/>
            <a:ext cx="2444750" cy="84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333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80975" indent="-180975" defTabSz="995363">
              <a:defRPr sz="2400">
                <a:solidFill>
                  <a:schemeClr val="tx1"/>
                </a:solidFill>
                <a:latin typeface="Arial" charset="0"/>
              </a:defRPr>
            </a:lvl1pPr>
            <a:lvl2pPr defTabSz="995363">
              <a:defRPr sz="2400">
                <a:solidFill>
                  <a:schemeClr val="tx1"/>
                </a:solidFill>
                <a:latin typeface="Arial" charset="0"/>
              </a:defRPr>
            </a:lvl2pPr>
            <a:lvl3pPr defTabSz="995363">
              <a:defRPr sz="2400">
                <a:solidFill>
                  <a:schemeClr val="tx1"/>
                </a:solidFill>
                <a:latin typeface="Arial" charset="0"/>
              </a:defRPr>
            </a:lvl3pPr>
            <a:lvl4pPr defTabSz="995363">
              <a:defRPr sz="2400">
                <a:solidFill>
                  <a:schemeClr val="tx1"/>
                </a:solidFill>
                <a:latin typeface="Arial" charset="0"/>
              </a:defRPr>
            </a:lvl4pPr>
            <a:lvl5pPr defTabSz="995363">
              <a:defRPr sz="2400">
                <a:solidFill>
                  <a:schemeClr val="tx1"/>
                </a:solidFill>
                <a:latin typeface="Arial" charset="0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975" marR="0" lvl="0" indent="-180975" defTabSz="995363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mr-I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…</a:t>
            </a:r>
            <a:endParaRPr kumimoji="0" lang="en-US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4" name="Text Box 2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750172" y="4779224"/>
            <a:ext cx="2444750" cy="84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333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80975" indent="-180975" defTabSz="995363">
              <a:defRPr sz="2400">
                <a:solidFill>
                  <a:schemeClr val="tx1"/>
                </a:solidFill>
                <a:latin typeface="Arial" charset="0"/>
              </a:defRPr>
            </a:lvl1pPr>
            <a:lvl2pPr defTabSz="995363">
              <a:defRPr sz="2400">
                <a:solidFill>
                  <a:schemeClr val="tx1"/>
                </a:solidFill>
                <a:latin typeface="Arial" charset="0"/>
              </a:defRPr>
            </a:lvl2pPr>
            <a:lvl3pPr defTabSz="995363">
              <a:defRPr sz="2400">
                <a:solidFill>
                  <a:schemeClr val="tx1"/>
                </a:solidFill>
                <a:latin typeface="Arial" charset="0"/>
              </a:defRPr>
            </a:lvl3pPr>
            <a:lvl4pPr defTabSz="995363">
              <a:defRPr sz="2400">
                <a:solidFill>
                  <a:schemeClr val="tx1"/>
                </a:solidFill>
                <a:latin typeface="Arial" charset="0"/>
              </a:defRPr>
            </a:lvl4pPr>
            <a:lvl5pPr defTabSz="995363">
              <a:defRPr sz="2400">
                <a:solidFill>
                  <a:schemeClr val="tx1"/>
                </a:solidFill>
                <a:latin typeface="Arial" charset="0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975" marR="0" lvl="0" indent="-180975" defTabSz="995363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mr-I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…</a:t>
            </a:r>
            <a:endParaRPr kumimoji="0" lang="en-US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5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897117" y="1862052"/>
            <a:ext cx="2820988" cy="6521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72000" tIns="36000" rIns="0" bIns="36000" anchor="ctr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85738" indent="-185738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403225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96900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790575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477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049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621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19375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000000"/>
              </a:buClr>
              <a:buSzPct val="100000"/>
              <a:buFontTx/>
              <a:buChar char=" "/>
              <a:tabLst/>
              <a:defRPr/>
            </a:pPr>
            <a:r>
              <a:rPr kumimoji="0" lang="en-US" altLang="en-US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Excluded</a:t>
            </a:r>
          </a:p>
        </p:txBody>
      </p:sp>
      <p:sp>
        <p:nvSpPr>
          <p:cNvPr id="46" name="Line 34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>
            <a:off x="1616255" y="3588281"/>
            <a:ext cx="8185150" cy="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144000" tIns="144000" rIns="144000" bIns="14400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7" name="Line 34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>
            <a:off x="1585775" y="4655081"/>
            <a:ext cx="8185150" cy="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144000" tIns="144000" rIns="144000" bIns="14400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8" name="Text Box 27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981052" y="2615144"/>
            <a:ext cx="2444750" cy="84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333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80975" indent="-180975" defTabSz="995363">
              <a:defRPr sz="2400">
                <a:solidFill>
                  <a:schemeClr val="tx1"/>
                </a:solidFill>
                <a:latin typeface="Arial" charset="0"/>
              </a:defRPr>
            </a:lvl1pPr>
            <a:lvl2pPr defTabSz="995363">
              <a:defRPr sz="2400">
                <a:solidFill>
                  <a:schemeClr val="tx1"/>
                </a:solidFill>
                <a:latin typeface="Arial" charset="0"/>
              </a:defRPr>
            </a:lvl2pPr>
            <a:lvl3pPr defTabSz="995363">
              <a:defRPr sz="2400">
                <a:solidFill>
                  <a:schemeClr val="tx1"/>
                </a:solidFill>
                <a:latin typeface="Arial" charset="0"/>
              </a:defRPr>
            </a:lvl3pPr>
            <a:lvl4pPr defTabSz="995363">
              <a:defRPr sz="2400">
                <a:solidFill>
                  <a:schemeClr val="tx1"/>
                </a:solidFill>
                <a:latin typeface="Arial" charset="0"/>
              </a:defRPr>
            </a:lvl4pPr>
            <a:lvl5pPr defTabSz="995363">
              <a:defRPr sz="2400">
                <a:solidFill>
                  <a:schemeClr val="tx1"/>
                </a:solidFill>
                <a:latin typeface="Arial" charset="0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975" marR="0" lvl="0" indent="-180975" defTabSz="995363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mr-I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…</a:t>
            </a:r>
            <a:endParaRPr kumimoji="0" lang="en-US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9" name="Text Box 27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996292" y="3758144"/>
            <a:ext cx="2444750" cy="84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333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80975" indent="-180975" defTabSz="995363">
              <a:defRPr sz="2400">
                <a:solidFill>
                  <a:schemeClr val="tx1"/>
                </a:solidFill>
                <a:latin typeface="Arial" charset="0"/>
              </a:defRPr>
            </a:lvl1pPr>
            <a:lvl2pPr defTabSz="995363">
              <a:defRPr sz="2400">
                <a:solidFill>
                  <a:schemeClr val="tx1"/>
                </a:solidFill>
                <a:latin typeface="Arial" charset="0"/>
              </a:defRPr>
            </a:lvl2pPr>
            <a:lvl3pPr defTabSz="995363">
              <a:defRPr sz="2400">
                <a:solidFill>
                  <a:schemeClr val="tx1"/>
                </a:solidFill>
                <a:latin typeface="Arial" charset="0"/>
              </a:defRPr>
            </a:lvl3pPr>
            <a:lvl4pPr defTabSz="995363">
              <a:defRPr sz="2400">
                <a:solidFill>
                  <a:schemeClr val="tx1"/>
                </a:solidFill>
                <a:latin typeface="Arial" charset="0"/>
              </a:defRPr>
            </a:lvl4pPr>
            <a:lvl5pPr defTabSz="995363">
              <a:defRPr sz="2400">
                <a:solidFill>
                  <a:schemeClr val="tx1"/>
                </a:solidFill>
                <a:latin typeface="Arial" charset="0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975" marR="0" lvl="0" indent="-180975" defTabSz="995363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mr-I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…</a:t>
            </a:r>
            <a:endParaRPr kumimoji="0" lang="en-US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50" name="Text Box 2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996292" y="4763984"/>
            <a:ext cx="2444750" cy="84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333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80975" indent="-180975" defTabSz="995363">
              <a:defRPr sz="2400">
                <a:solidFill>
                  <a:schemeClr val="tx1"/>
                </a:solidFill>
                <a:latin typeface="Arial" charset="0"/>
              </a:defRPr>
            </a:lvl1pPr>
            <a:lvl2pPr defTabSz="995363">
              <a:defRPr sz="2400">
                <a:solidFill>
                  <a:schemeClr val="tx1"/>
                </a:solidFill>
                <a:latin typeface="Arial" charset="0"/>
              </a:defRPr>
            </a:lvl2pPr>
            <a:lvl3pPr defTabSz="995363">
              <a:defRPr sz="2400">
                <a:solidFill>
                  <a:schemeClr val="tx1"/>
                </a:solidFill>
                <a:latin typeface="Arial" charset="0"/>
              </a:defRPr>
            </a:lvl3pPr>
            <a:lvl4pPr defTabSz="995363">
              <a:defRPr sz="2400">
                <a:solidFill>
                  <a:schemeClr val="tx1"/>
                </a:solidFill>
                <a:latin typeface="Arial" charset="0"/>
              </a:defRPr>
            </a:lvl4pPr>
            <a:lvl5pPr defTabSz="995363">
              <a:defRPr sz="2400">
                <a:solidFill>
                  <a:schemeClr val="tx1"/>
                </a:solidFill>
                <a:latin typeface="Arial" charset="0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975" marR="0" lvl="0" indent="-180975" defTabSz="995363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mr-I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Baskerville" charset="0"/>
                <a:ea typeface="Baskerville" charset="0"/>
                <a:cs typeface="Baskerville" charset="0"/>
              </a:rPr>
              <a:t>…</a:t>
            </a:r>
            <a:endParaRPr kumimoji="0" lang="en-US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Baskerville" charset="0"/>
              <a:ea typeface="Baskerville" charset="0"/>
              <a:cs typeface="Baskervill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116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17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8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1747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en-US" dirty="0" smtClean="0"/>
              <a:t>High Level Plan </a:t>
            </a:r>
            <a:r>
              <a:rPr lang="mr-IN" altLang="en-US" dirty="0" smtClean="0"/>
              <a:t>–</a:t>
            </a:r>
            <a:r>
              <a:rPr lang="en-US" altLang="en-US" dirty="0" smtClean="0"/>
              <a:t> TEMPLATE</a:t>
            </a:r>
            <a:endParaRPr lang="en-US" alt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2" name="Rectangle 39"/>
          <p:cNvSpPr>
            <a:spLocks noChangeArrowheads="1"/>
          </p:cNvSpPr>
          <p:nvPr/>
        </p:nvSpPr>
        <p:spPr bwMode="gray">
          <a:xfrm>
            <a:off x="1955644" y="2869518"/>
            <a:ext cx="31348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22238" indent="-122238" defTabSz="930275">
              <a:spcAft>
                <a:spcPts val="600"/>
              </a:spcAft>
              <a:buClr>
                <a:srgbClr val="632E62"/>
              </a:buClr>
              <a:buSzPct val="80000"/>
              <a:buFont typeface="Wingdings" charset="2"/>
              <a:buChar char="§"/>
            </a:pPr>
            <a:r>
              <a:rPr lang="mr-IN" sz="1400" dirty="0" smtClean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sz="1400" dirty="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53" name="Line 40"/>
          <p:cNvSpPr>
            <a:spLocks noChangeShapeType="1"/>
          </p:cNvSpPr>
          <p:nvPr/>
        </p:nvSpPr>
        <p:spPr bwMode="gray">
          <a:xfrm flipH="1">
            <a:off x="5084562" y="2680955"/>
            <a:ext cx="0" cy="3143196"/>
          </a:xfrm>
          <a:prstGeom prst="line">
            <a:avLst/>
          </a:prstGeom>
          <a:noFill/>
          <a:ln w="12700">
            <a:solidFill>
              <a:schemeClr val="hlink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en-US" sz="14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54" name="Line 42"/>
          <p:cNvSpPr>
            <a:spLocks noChangeShapeType="1"/>
          </p:cNvSpPr>
          <p:nvPr/>
        </p:nvSpPr>
        <p:spPr bwMode="gray">
          <a:xfrm flipH="1">
            <a:off x="7774608" y="2649116"/>
            <a:ext cx="12124" cy="3065705"/>
          </a:xfrm>
          <a:prstGeom prst="line">
            <a:avLst/>
          </a:prstGeom>
          <a:noFill/>
          <a:ln w="12700">
            <a:solidFill>
              <a:schemeClr val="hlink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en-US" sz="14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59" name="AutoShape 44"/>
          <p:cNvSpPr>
            <a:spLocks noChangeArrowheads="1"/>
          </p:cNvSpPr>
          <p:nvPr/>
        </p:nvSpPr>
        <p:spPr bwMode="gray">
          <a:xfrm>
            <a:off x="1955644" y="1733218"/>
            <a:ext cx="3258670" cy="920750"/>
          </a:xfrm>
          <a:prstGeom prst="homePlate">
            <a:avLst>
              <a:gd name="adj" fmla="val 18214"/>
            </a:avLst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>
              <a:defRPr/>
            </a:pPr>
            <a:endParaRPr lang="en-US" sz="14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61" name="AutoShape 45"/>
          <p:cNvSpPr>
            <a:spLocks noChangeArrowheads="1"/>
          </p:cNvSpPr>
          <p:nvPr/>
        </p:nvSpPr>
        <p:spPr bwMode="gray">
          <a:xfrm>
            <a:off x="5052304" y="1719072"/>
            <a:ext cx="2832522" cy="962768"/>
          </a:xfrm>
          <a:prstGeom prst="chevron">
            <a:avLst>
              <a:gd name="adj" fmla="val 19284"/>
            </a:avLst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sz="14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63" name="AutoShape 46"/>
          <p:cNvSpPr>
            <a:spLocks noChangeArrowheads="1"/>
          </p:cNvSpPr>
          <p:nvPr/>
        </p:nvSpPr>
        <p:spPr bwMode="gray">
          <a:xfrm>
            <a:off x="7752106" y="1719072"/>
            <a:ext cx="2890910" cy="962768"/>
          </a:xfrm>
          <a:prstGeom prst="chevron">
            <a:avLst>
              <a:gd name="adj" fmla="val 17008"/>
            </a:avLst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sz="14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64" name="Rectangle 4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54287" y="2102539"/>
            <a:ext cx="12207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defTabSz="930275">
              <a:buClr>
                <a:srgbClr val="632E62"/>
              </a:buClr>
            </a:pPr>
            <a:r>
              <a:rPr lang="en-US" sz="1400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Assessment</a:t>
            </a:r>
          </a:p>
        </p:txBody>
      </p:sp>
      <p:sp>
        <p:nvSpPr>
          <p:cNvPr id="68" name="Rectangle 5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608727" y="2122086"/>
            <a:ext cx="150378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6643" tIns="0" rIns="46643" bIns="0" anchor="ctr">
            <a:spAutoFit/>
          </a:bodyPr>
          <a:lstStyle/>
          <a:p>
            <a:pPr defTabSz="930275">
              <a:buClr>
                <a:srgbClr val="632E62"/>
              </a:buClr>
            </a:pPr>
            <a:r>
              <a:rPr lang="en-US" sz="1400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Implementation</a:t>
            </a:r>
          </a:p>
        </p:txBody>
      </p:sp>
      <p:sp>
        <p:nvSpPr>
          <p:cNvPr id="69" name="Rectangle 5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456383" y="2077192"/>
            <a:ext cx="10668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defTabSz="930275">
              <a:buClr>
                <a:srgbClr val="632E62"/>
              </a:buClr>
            </a:pPr>
            <a:r>
              <a:rPr lang="en-US" sz="1400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Tracking</a:t>
            </a:r>
          </a:p>
        </p:txBody>
      </p:sp>
      <p:sp>
        <p:nvSpPr>
          <p:cNvPr id="74" name="Rectangle 58"/>
          <p:cNvSpPr>
            <a:spLocks noChangeArrowheads="1"/>
          </p:cNvSpPr>
          <p:nvPr/>
        </p:nvSpPr>
        <p:spPr bwMode="gray">
          <a:xfrm>
            <a:off x="795813" y="2852054"/>
            <a:ext cx="77983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19150">
              <a:buClr>
                <a:srgbClr val="632E62"/>
              </a:buClr>
            </a:pPr>
            <a:r>
              <a:rPr lang="en-US" sz="1400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Key Activities</a:t>
            </a:r>
          </a:p>
        </p:txBody>
      </p:sp>
      <p:sp>
        <p:nvSpPr>
          <p:cNvPr id="75" name="Rectangle 58"/>
          <p:cNvSpPr>
            <a:spLocks noChangeArrowheads="1"/>
          </p:cNvSpPr>
          <p:nvPr/>
        </p:nvSpPr>
        <p:spPr bwMode="gray">
          <a:xfrm>
            <a:off x="776413" y="4813812"/>
            <a:ext cx="108746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19150">
              <a:buClr>
                <a:srgbClr val="632E62"/>
              </a:buClr>
            </a:pPr>
            <a:r>
              <a:rPr lang="en-US" sz="1400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Key Deliverables</a:t>
            </a:r>
          </a:p>
        </p:txBody>
      </p:sp>
      <p:sp>
        <p:nvSpPr>
          <p:cNvPr id="76" name="Rectangle 58"/>
          <p:cNvSpPr>
            <a:spLocks noChangeArrowheads="1"/>
          </p:cNvSpPr>
          <p:nvPr/>
        </p:nvSpPr>
        <p:spPr bwMode="gray">
          <a:xfrm>
            <a:off x="794739" y="5519118"/>
            <a:ext cx="108746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19150">
              <a:buClr>
                <a:srgbClr val="632E62"/>
              </a:buClr>
            </a:pPr>
            <a:r>
              <a:rPr lang="en-US" sz="1400" b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Key Milestones</a:t>
            </a:r>
          </a:p>
        </p:txBody>
      </p:sp>
      <p:sp>
        <p:nvSpPr>
          <p:cNvPr id="77" name="Line 42"/>
          <p:cNvSpPr>
            <a:spLocks noChangeShapeType="1"/>
          </p:cNvSpPr>
          <p:nvPr/>
        </p:nvSpPr>
        <p:spPr bwMode="gray">
          <a:xfrm flipH="1">
            <a:off x="2072198" y="4794923"/>
            <a:ext cx="8086627" cy="36537"/>
          </a:xfrm>
          <a:prstGeom prst="line">
            <a:avLst/>
          </a:prstGeom>
          <a:noFill/>
          <a:ln w="12700">
            <a:solidFill>
              <a:schemeClr val="hlink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en-US" sz="14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78" name="Rectangle 39"/>
          <p:cNvSpPr>
            <a:spLocks noChangeArrowheads="1"/>
          </p:cNvSpPr>
          <p:nvPr/>
        </p:nvSpPr>
        <p:spPr bwMode="gray">
          <a:xfrm>
            <a:off x="1955643" y="4932314"/>
            <a:ext cx="270629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22238" indent="-122238" defTabSz="930275">
              <a:spcAft>
                <a:spcPts val="600"/>
              </a:spcAft>
              <a:buClr>
                <a:srgbClr val="632E62"/>
              </a:buClr>
              <a:buSzPct val="80000"/>
              <a:buFont typeface="Wingdings" charset="2"/>
              <a:buChar char="§"/>
            </a:pPr>
            <a:r>
              <a:rPr lang="mr-IN" sz="1400" dirty="0" smtClean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sz="1400" dirty="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79" name="Rectangle 54"/>
          <p:cNvSpPr>
            <a:spLocks noChangeArrowheads="1"/>
          </p:cNvSpPr>
          <p:nvPr/>
        </p:nvSpPr>
        <p:spPr bwMode="gray">
          <a:xfrm>
            <a:off x="5156018" y="4920338"/>
            <a:ext cx="195649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22238" lvl="1" indent="-122238" defTabSz="912813">
              <a:spcAft>
                <a:spcPts val="600"/>
              </a:spcAft>
              <a:buClr>
                <a:srgbClr val="632E62"/>
              </a:buClr>
              <a:buSzPct val="80000"/>
              <a:buFont typeface="Wingdings" charset="2"/>
              <a:buChar char="§"/>
            </a:pPr>
            <a:r>
              <a:rPr lang="mr-IN" sz="1400" dirty="0" smtClean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…</a:t>
            </a:r>
            <a:r>
              <a:rPr lang="en-US" sz="1400" dirty="0" smtClean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.</a:t>
            </a:r>
            <a:endParaRPr lang="en-US" sz="1400" dirty="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80" name="Triangle 79"/>
          <p:cNvSpPr/>
          <p:nvPr/>
        </p:nvSpPr>
        <p:spPr>
          <a:xfrm>
            <a:off x="4953146" y="5684666"/>
            <a:ext cx="247973" cy="17048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Triangle 80"/>
          <p:cNvSpPr/>
          <p:nvPr/>
        </p:nvSpPr>
        <p:spPr>
          <a:xfrm>
            <a:off x="7637558" y="5647660"/>
            <a:ext cx="247973" cy="17048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2" name="Rectangle 54"/>
          <p:cNvSpPr>
            <a:spLocks noChangeArrowheads="1"/>
          </p:cNvSpPr>
          <p:nvPr/>
        </p:nvSpPr>
        <p:spPr bwMode="gray">
          <a:xfrm>
            <a:off x="4399631" y="5980562"/>
            <a:ext cx="147955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22238" lvl="1" indent="-122238" defTabSz="912813">
              <a:spcAft>
                <a:spcPts val="600"/>
              </a:spcAft>
              <a:buClr>
                <a:srgbClr val="632E62"/>
              </a:buClr>
              <a:buSzPct val="80000"/>
              <a:buFont typeface="Wingdings" charset="2"/>
              <a:buNone/>
            </a:pPr>
            <a:r>
              <a:rPr lang="en-US" sz="1400" i="1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Steering Committee - Feb</a:t>
            </a:r>
            <a:endParaRPr lang="en-US" sz="1400" i="1" dirty="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83" name="Rectangle 39"/>
          <p:cNvSpPr>
            <a:spLocks noChangeArrowheads="1"/>
          </p:cNvSpPr>
          <p:nvPr/>
        </p:nvSpPr>
        <p:spPr bwMode="gray">
          <a:xfrm>
            <a:off x="5156343" y="2857451"/>
            <a:ext cx="25957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22238" indent="-122238" defTabSz="930275">
              <a:spcAft>
                <a:spcPts val="600"/>
              </a:spcAft>
              <a:buClr>
                <a:srgbClr val="632E62"/>
              </a:buClr>
              <a:buSzPct val="80000"/>
              <a:buFont typeface="Wingdings" charset="2"/>
              <a:buChar char="§"/>
            </a:pPr>
            <a:r>
              <a:rPr lang="mr-IN" sz="1400" dirty="0" smtClean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sz="1400" dirty="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84" name="Rectangle 54"/>
          <p:cNvSpPr>
            <a:spLocks noChangeArrowheads="1"/>
          </p:cNvSpPr>
          <p:nvPr/>
        </p:nvSpPr>
        <p:spPr bwMode="gray">
          <a:xfrm>
            <a:off x="7161030" y="5955978"/>
            <a:ext cx="147955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22238" lvl="1" indent="-122238" defTabSz="912813">
              <a:spcAft>
                <a:spcPts val="600"/>
              </a:spcAft>
              <a:buClr>
                <a:srgbClr val="632E62"/>
              </a:buClr>
              <a:buSzPct val="80000"/>
              <a:buFont typeface="Wingdings" charset="2"/>
              <a:buNone/>
            </a:pPr>
            <a:r>
              <a:rPr lang="en-US" sz="1400" i="1" dirty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Steering Committee - April</a:t>
            </a:r>
          </a:p>
        </p:txBody>
      </p:sp>
      <p:sp>
        <p:nvSpPr>
          <p:cNvPr id="85" name="Rectangle 39"/>
          <p:cNvSpPr>
            <a:spLocks noChangeArrowheads="1"/>
          </p:cNvSpPr>
          <p:nvPr/>
        </p:nvSpPr>
        <p:spPr bwMode="gray">
          <a:xfrm>
            <a:off x="7900806" y="2857451"/>
            <a:ext cx="253543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22238" indent="-122238" defTabSz="930275">
              <a:spcAft>
                <a:spcPts val="600"/>
              </a:spcAft>
              <a:buClr>
                <a:srgbClr val="632E62"/>
              </a:buClr>
              <a:buSzPct val="80000"/>
              <a:buFont typeface="Wingdings" charset="2"/>
              <a:buChar char="§"/>
            </a:pPr>
            <a:r>
              <a:rPr lang="mr-IN" sz="1400" dirty="0" smtClean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sz="1400" dirty="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86" name="Rectangle 54"/>
          <p:cNvSpPr>
            <a:spLocks noChangeArrowheads="1"/>
          </p:cNvSpPr>
          <p:nvPr/>
        </p:nvSpPr>
        <p:spPr bwMode="gray">
          <a:xfrm>
            <a:off x="7900805" y="4899897"/>
            <a:ext cx="225802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22238" lvl="1" indent="-122238" defTabSz="912813">
              <a:spcAft>
                <a:spcPts val="600"/>
              </a:spcAft>
              <a:buClr>
                <a:srgbClr val="632E62"/>
              </a:buClr>
              <a:buSzPct val="80000"/>
              <a:buFont typeface="Wingdings" charset="2"/>
              <a:buChar char="§"/>
            </a:pPr>
            <a:r>
              <a:rPr lang="mr-IN" sz="1400" dirty="0" smtClean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…</a:t>
            </a:r>
            <a:r>
              <a:rPr lang="en-US" sz="1400" dirty="0" smtClean="0">
                <a:solidFill>
                  <a:prstClr val="black"/>
                </a:solidFill>
                <a:latin typeface="Baskerville" charset="0"/>
                <a:ea typeface="Baskerville" charset="0"/>
                <a:cs typeface="Baskerville" charset="0"/>
              </a:rPr>
              <a:t>.</a:t>
            </a:r>
            <a:endParaRPr lang="en-US" sz="1400" dirty="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0833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08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13" imgW="381" imgH="381" progId="TCLayout.ActiveDocument.1">
                  <p:embed/>
                </p:oleObj>
              </mc:Choice>
              <mc:Fallback>
                <p:oleObj name="think-cell Slide" r:id="rId13" imgW="381" imgH="381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8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8083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en-US" dirty="0" smtClean="0"/>
              <a:t>Program Organization - TEMPLATE</a:t>
            </a:r>
            <a:endParaRPr lang="en-US" alt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H="1">
            <a:off x="7487857" y="2540350"/>
            <a:ext cx="2260600" cy="2353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rgbClr val="B2B2B2"/>
            </a:solidFill>
            <a:miter lim="800000"/>
            <a:headEnd type="none" w="sm" len="sm"/>
            <a:tailEnd type="none" w="sm" len="sm"/>
          </a:ln>
        </p:spPr>
        <p:txBody>
          <a:bodyPr lIns="182880" rIns="182880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30000"/>
              </a:spcBef>
            </a:pPr>
            <a:r>
              <a:rPr lang="en-US" altLang="en-US" sz="1200" b="1">
                <a:solidFill>
                  <a:srgbClr val="000000"/>
                </a:solidFill>
                <a:latin typeface="Baskerville" charset="0"/>
                <a:ea typeface="Baskerville" charset="0"/>
                <a:cs typeface="Baskerville" charset="0"/>
              </a:rPr>
              <a:t>Program Sounding Board</a:t>
            </a:r>
          </a:p>
        </p:txBody>
      </p:sp>
      <p:sp>
        <p:nvSpPr>
          <p:cNvPr id="12" name="Rectangle 9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H="1">
            <a:off x="7487857" y="2774145"/>
            <a:ext cx="2260600" cy="501217"/>
          </a:xfrm>
          <a:prstGeom prst="rect">
            <a:avLst/>
          </a:prstGeom>
          <a:solidFill>
            <a:srgbClr val="FFFFFF"/>
          </a:solidFill>
          <a:ln w="3175">
            <a:solidFill>
              <a:srgbClr val="B2B2B2"/>
            </a:solidFill>
            <a:miter lim="800000"/>
            <a:headEnd type="none" w="sm" len="sm"/>
            <a:tailEnd type="none" w="sm" len="sm"/>
          </a:ln>
        </p:spPr>
        <p:txBody>
          <a:bodyPr/>
          <a:lstStyle>
            <a:lvl1pPr marL="171450" indent="-1714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20000"/>
              </a:spcAft>
              <a:buClr>
                <a:prstClr val="black"/>
              </a:buClr>
              <a:buFontTx/>
              <a:buChar char="•"/>
            </a:pPr>
            <a:r>
              <a:rPr lang="mr-IN" altLang="en-US" sz="1200" dirty="0" smtClean="0">
                <a:solidFill>
                  <a:srgbClr val="000000"/>
                </a:solidFill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altLang="en-US" sz="1200" dirty="0">
              <a:solidFill>
                <a:srgbClr val="000000"/>
              </a:solidFill>
              <a:latin typeface="Baskerville" charset="0"/>
              <a:ea typeface="Baskerville" charset="0"/>
              <a:cs typeface="Baskerville" charset="0"/>
            </a:endParaRPr>
          </a:p>
          <a:p>
            <a:pPr>
              <a:spcAft>
                <a:spcPct val="20000"/>
              </a:spcAft>
              <a:buClr>
                <a:prstClr val="black"/>
              </a:buClr>
              <a:buFontTx/>
              <a:buChar char="•"/>
            </a:pPr>
            <a:endParaRPr lang="en-US" altLang="en-US" sz="1200" dirty="0">
              <a:solidFill>
                <a:srgbClr val="000000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6" name="Rectangle 9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H="1">
            <a:off x="4228637" y="3353230"/>
            <a:ext cx="2741612" cy="490350"/>
          </a:xfrm>
          <a:prstGeom prst="rect">
            <a:avLst/>
          </a:prstGeom>
          <a:solidFill>
            <a:srgbClr val="FFFFFF"/>
          </a:solidFill>
          <a:ln w="3175">
            <a:solidFill>
              <a:srgbClr val="B2B2B2"/>
            </a:solidFill>
            <a:miter lim="800000"/>
            <a:headEnd type="none" w="sm" len="sm"/>
            <a:tailEnd type="none" w="sm" len="sm"/>
          </a:ln>
        </p:spPr>
        <p:txBody>
          <a:bodyPr/>
          <a:lstStyle>
            <a:lvl1pPr marL="171450" indent="-1714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20000"/>
              </a:spcAft>
              <a:buClr>
                <a:prstClr val="black"/>
              </a:buClr>
              <a:buFontTx/>
              <a:buChar char="•"/>
            </a:pPr>
            <a:r>
              <a:rPr lang="mr-IN" altLang="en-US" sz="1200" dirty="0" smtClean="0">
                <a:solidFill>
                  <a:srgbClr val="000000"/>
                </a:solidFill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altLang="en-US" sz="1200" baseline="30000" dirty="0" smtClean="0">
              <a:solidFill>
                <a:srgbClr val="000000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7" name="Rectangle 9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flipH="1">
            <a:off x="4228637" y="3145268"/>
            <a:ext cx="2741612" cy="2333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B2B2B2"/>
            </a:solidFill>
            <a:miter lim="800000"/>
            <a:headEnd type="none" w="sm" len="sm"/>
            <a:tailEnd type="none" w="sm" len="sm"/>
          </a:ln>
        </p:spPr>
        <p:txBody>
          <a:bodyPr lIns="182880" rIns="182880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30000"/>
              </a:spcBef>
            </a:pPr>
            <a:r>
              <a:rPr lang="en-US" altLang="en-US" sz="1200" b="1" dirty="0">
                <a:solidFill>
                  <a:srgbClr val="000000"/>
                </a:solidFill>
                <a:latin typeface="Baskerville" charset="0"/>
                <a:ea typeface="Baskerville" charset="0"/>
                <a:cs typeface="Baskerville" charset="0"/>
              </a:rPr>
              <a:t>Program Manager</a:t>
            </a:r>
          </a:p>
        </p:txBody>
      </p:sp>
      <p:grpSp>
        <p:nvGrpSpPr>
          <p:cNvPr id="23" name="Group 70"/>
          <p:cNvGrpSpPr>
            <a:grpSpLocks/>
          </p:cNvGrpSpPr>
          <p:nvPr/>
        </p:nvGrpSpPr>
        <p:grpSpPr bwMode="auto">
          <a:xfrm>
            <a:off x="4233399" y="1971917"/>
            <a:ext cx="2741613" cy="484187"/>
            <a:chOff x="2120" y="1167"/>
            <a:chExt cx="1727" cy="305"/>
          </a:xfrm>
        </p:grpSpPr>
        <p:sp>
          <p:nvSpPr>
            <p:cNvPr id="24" name="Rectangle 9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 flipH="1">
              <a:off x="2120" y="1298"/>
              <a:ext cx="1727" cy="174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B2B2B2"/>
              </a:solidFill>
              <a:miter lim="800000"/>
              <a:headEnd type="none" w="sm" len="sm"/>
              <a:tailEnd type="none" w="sm" len="sm"/>
            </a:ln>
          </p:spPr>
          <p:txBody>
            <a:bodyPr/>
            <a:lstStyle>
              <a:lvl1pPr marL="171450" indent="-1714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Aft>
                  <a:spcPct val="20000"/>
                </a:spcAft>
                <a:buClr>
                  <a:prstClr val="black"/>
                </a:buClr>
                <a:buFontTx/>
                <a:buChar char="•"/>
              </a:pPr>
              <a:r>
                <a:rPr lang="mr-IN" altLang="en-US" sz="1200" dirty="0" smtClean="0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…</a:t>
              </a:r>
              <a:endParaRPr lang="en-US" altLang="en-US" sz="1200" dirty="0">
                <a:solidFill>
                  <a:srgbClr val="000000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" name="Rectangle 9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 flipH="1">
              <a:off x="2120" y="1167"/>
              <a:ext cx="1727" cy="14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rgbClr val="B2B2B2"/>
              </a:solidFill>
              <a:miter lim="800000"/>
              <a:headEnd type="none" w="sm" len="sm"/>
              <a:tailEnd type="none" w="sm" len="sm"/>
            </a:ln>
          </p:spPr>
          <p:txBody>
            <a:bodyPr lIns="182880" rIns="182880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30000"/>
                </a:spcBef>
              </a:pPr>
              <a:r>
                <a:rPr lang="en-US" alt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Program Sponsor</a:t>
              </a:r>
            </a:p>
          </p:txBody>
        </p:sp>
      </p:grpSp>
      <p:sp>
        <p:nvSpPr>
          <p:cNvPr id="26" name="Rectangle 9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flipH="1">
            <a:off x="870267" y="2658254"/>
            <a:ext cx="2741613" cy="2968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B2B2B2"/>
            </a:solidFill>
            <a:miter lim="800000"/>
            <a:headEnd type="none" w="sm" len="sm"/>
            <a:tailEnd type="none" w="sm" len="sm"/>
          </a:ln>
        </p:spPr>
        <p:txBody>
          <a:bodyPr lIns="182880" rIns="182880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30000"/>
              </a:spcBef>
            </a:pPr>
            <a:r>
              <a:rPr lang="en-US" altLang="en-US" sz="1200" b="1" dirty="0">
                <a:solidFill>
                  <a:srgbClr val="000000"/>
                </a:solidFill>
                <a:latin typeface="Baskerville" charset="0"/>
                <a:ea typeface="Baskerville" charset="0"/>
                <a:cs typeface="Baskerville" charset="0"/>
              </a:rPr>
              <a:t>Steering Committee</a:t>
            </a:r>
          </a:p>
        </p:txBody>
      </p:sp>
      <p:sp>
        <p:nvSpPr>
          <p:cNvPr id="27" name="Rectangle 9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flipH="1">
            <a:off x="870267" y="2948766"/>
            <a:ext cx="2741613" cy="558800"/>
          </a:xfrm>
          <a:prstGeom prst="rect">
            <a:avLst/>
          </a:prstGeom>
          <a:solidFill>
            <a:srgbClr val="FFFFFF"/>
          </a:solidFill>
          <a:ln w="3175">
            <a:solidFill>
              <a:srgbClr val="B2B2B2"/>
            </a:solidFill>
            <a:miter lim="800000"/>
            <a:headEnd type="none" w="sm" len="sm"/>
            <a:tailEnd type="none" w="sm" len="sm"/>
          </a:ln>
        </p:spPr>
        <p:txBody>
          <a:bodyPr tIns="18288"/>
          <a:lstStyle>
            <a:lvl1pPr marL="171450" indent="-1714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prstClr val="black"/>
              </a:buClr>
              <a:buFontTx/>
              <a:buChar char="•"/>
            </a:pPr>
            <a:r>
              <a:rPr lang="de-DE" altLang="en-US" sz="1200" dirty="0" smtClean="0">
                <a:solidFill>
                  <a:srgbClr val="000000"/>
                </a:solidFill>
                <a:latin typeface="Baskerville" charset="0"/>
                <a:ea typeface="Baskerville" charset="0"/>
                <a:cs typeface="Baskerville" charset="0"/>
              </a:rPr>
              <a:t>...</a:t>
            </a:r>
            <a:endParaRPr lang="en-US" altLang="en-US" sz="1200" dirty="0">
              <a:solidFill>
                <a:srgbClr val="000000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4" name="Rectangle 80"/>
          <p:cNvSpPr>
            <a:spLocks noChangeArrowheads="1"/>
          </p:cNvSpPr>
          <p:nvPr/>
        </p:nvSpPr>
        <p:spPr bwMode="gray">
          <a:xfrm>
            <a:off x="4577807" y="5292353"/>
            <a:ext cx="1909763" cy="803275"/>
          </a:xfrm>
          <a:prstGeom prst="rect">
            <a:avLst/>
          </a:prstGeom>
          <a:solidFill>
            <a:srgbClr val="FFFFFF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tx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72000" tIns="72000" rIns="72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14300" indent="-112713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747713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108075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468438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9256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3828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8400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2972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20000"/>
              </a:spcAft>
              <a:buClr>
                <a:prstClr val="black"/>
              </a:buClr>
              <a:buFontTx/>
              <a:buChar char="•"/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mr-IN" altLang="en-US" sz="1200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altLang="en-US" sz="12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5" name="Rectangle 81"/>
          <p:cNvSpPr>
            <a:spLocks noChangeArrowheads="1"/>
          </p:cNvSpPr>
          <p:nvPr/>
        </p:nvSpPr>
        <p:spPr bwMode="gray">
          <a:xfrm>
            <a:off x="4577807" y="4976440"/>
            <a:ext cx="1909763" cy="3190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lIns="72000" tIns="72000" rIns="72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14300" indent="-112713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747713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108075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468438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9256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3828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8400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2972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10000"/>
              </a:spcAft>
            </a:pPr>
            <a:r>
              <a:rPr lang="en-US" altLang="en-US" sz="1200" b="1" dirty="0" smtClean="0">
                <a:latin typeface="Baskerville" charset="0"/>
                <a:ea typeface="Baskerville" charset="0"/>
                <a:cs typeface="Baskerville" charset="0"/>
              </a:rPr>
              <a:t>Workstream-2</a:t>
            </a:r>
            <a:endParaRPr lang="en-US" altLang="en-US" sz="1200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6" name="Rectangle 82"/>
          <p:cNvSpPr>
            <a:spLocks noChangeArrowheads="1"/>
          </p:cNvSpPr>
          <p:nvPr/>
        </p:nvSpPr>
        <p:spPr bwMode="gray">
          <a:xfrm>
            <a:off x="6651863" y="5275564"/>
            <a:ext cx="1911350" cy="803275"/>
          </a:xfrm>
          <a:prstGeom prst="rect">
            <a:avLst/>
          </a:prstGeom>
          <a:solidFill>
            <a:srgbClr val="FFFFFF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tx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72000" tIns="72000" rIns="72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14300" indent="-112713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747713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108075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468438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9256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3828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8400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2972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20000"/>
              </a:spcAft>
              <a:buClr>
                <a:prstClr val="black"/>
              </a:buClr>
              <a:buFontTx/>
              <a:buChar char="•"/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mr-IN" altLang="en-US" sz="1200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altLang="en-US" sz="12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7" name="Rectangle 83"/>
          <p:cNvSpPr>
            <a:spLocks noChangeArrowheads="1"/>
          </p:cNvSpPr>
          <p:nvPr/>
        </p:nvSpPr>
        <p:spPr bwMode="gray">
          <a:xfrm>
            <a:off x="6651863" y="4959651"/>
            <a:ext cx="1911350" cy="3190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lIns="72000" tIns="72000" rIns="72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14300" indent="-112713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747713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108075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468438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9256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3828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8400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2972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10000"/>
              </a:spcAft>
            </a:pPr>
            <a:r>
              <a:rPr lang="en-US" altLang="en-US" sz="1200" b="1" dirty="0" smtClean="0">
                <a:latin typeface="Baskerville" charset="0"/>
                <a:ea typeface="Baskerville" charset="0"/>
                <a:cs typeface="Baskerville" charset="0"/>
              </a:rPr>
              <a:t>Workstream-3</a:t>
            </a:r>
            <a:endParaRPr lang="en-US" altLang="en-US" sz="1200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" name="Rectangle 84"/>
          <p:cNvSpPr>
            <a:spLocks noChangeArrowheads="1"/>
          </p:cNvSpPr>
          <p:nvPr/>
        </p:nvSpPr>
        <p:spPr bwMode="gray">
          <a:xfrm>
            <a:off x="2497186" y="5291357"/>
            <a:ext cx="1911350" cy="803275"/>
          </a:xfrm>
          <a:prstGeom prst="rect">
            <a:avLst/>
          </a:prstGeom>
          <a:solidFill>
            <a:srgbClr val="FFFFFF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tx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72000" tIns="72000" rIns="72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14300" indent="-112713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747713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108075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468438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9256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3828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8400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2972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20000"/>
              </a:spcAft>
              <a:buClr>
                <a:prstClr val="black"/>
              </a:buClr>
              <a:buFontTx/>
              <a:buChar char="•"/>
            </a:pPr>
            <a:r>
              <a:rPr lang="en-US" altLang="en-US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mr-IN" altLang="en-US" sz="1200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altLang="en-US" sz="12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1" name="Rectangle 85"/>
          <p:cNvSpPr>
            <a:spLocks noChangeArrowheads="1"/>
          </p:cNvSpPr>
          <p:nvPr/>
        </p:nvSpPr>
        <p:spPr bwMode="gray">
          <a:xfrm>
            <a:off x="2497186" y="4975445"/>
            <a:ext cx="1911350" cy="3190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lIns="72000" tIns="72000" rIns="72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14300" indent="-112713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747713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108075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468438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9256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3828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8400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2972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10000"/>
              </a:spcAft>
            </a:pPr>
            <a:r>
              <a:rPr lang="en-US" altLang="en-US" sz="1200" b="1" dirty="0" smtClean="0">
                <a:latin typeface="Baskerville" charset="0"/>
                <a:ea typeface="Baskerville" charset="0"/>
                <a:cs typeface="Baskerville" charset="0"/>
              </a:rPr>
              <a:t>Workstream-1 </a:t>
            </a:r>
            <a:endParaRPr lang="en-US" altLang="en-US" sz="1200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8" name="Rectangle 88"/>
          <p:cNvSpPr>
            <a:spLocks noChangeArrowheads="1"/>
          </p:cNvSpPr>
          <p:nvPr/>
        </p:nvSpPr>
        <p:spPr bwMode="gray">
          <a:xfrm>
            <a:off x="2087798" y="1924589"/>
            <a:ext cx="2316163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6000" tIns="0" rIns="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90500" indent="-19050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371475" indent="-179388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81025" indent="-207963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814388" indent="-2317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715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287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859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431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0"/>
              </a:spcAft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Sponsors project and aligns among relevant stakeholders</a:t>
            </a:r>
          </a:p>
          <a:p>
            <a:pPr lvl="1">
              <a:spcAft>
                <a:spcPct val="0"/>
              </a:spcAft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Removes roadblocks</a:t>
            </a:r>
          </a:p>
        </p:txBody>
      </p:sp>
      <p:sp>
        <p:nvSpPr>
          <p:cNvPr id="39" name="Rectangle 89"/>
          <p:cNvSpPr>
            <a:spLocks noChangeArrowheads="1"/>
          </p:cNvSpPr>
          <p:nvPr/>
        </p:nvSpPr>
        <p:spPr bwMode="gray">
          <a:xfrm>
            <a:off x="708450" y="3732322"/>
            <a:ext cx="2316163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6000" tIns="0" rIns="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90500" indent="-19050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371475" indent="-179388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81025" indent="-207963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814388" indent="-2317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715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287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859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431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0"/>
              </a:spcAft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Approves project approach </a:t>
            </a:r>
            <a:r>
              <a:rPr lang="en-US" altLang="en-US" sz="1200" dirty="0" smtClean="0">
                <a:latin typeface="Baskerville" charset="0"/>
                <a:ea typeface="Baskerville" charset="0"/>
                <a:cs typeface="Baskerville" charset="0"/>
              </a:rPr>
              <a:t>and </a:t>
            </a: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sign offs on project decisions </a:t>
            </a:r>
            <a:r>
              <a:rPr lang="en-US" altLang="en-US" sz="1200">
                <a:latin typeface="Baskerville" charset="0"/>
                <a:ea typeface="Baskerville" charset="0"/>
                <a:cs typeface="Baskerville" charset="0"/>
              </a:rPr>
              <a:t>and </a:t>
            </a:r>
            <a:r>
              <a:rPr lang="en-US" altLang="en-US" sz="1200" smtClean="0">
                <a:latin typeface="Baskerville" charset="0"/>
                <a:ea typeface="Baskerville" charset="0"/>
                <a:cs typeface="Baskerville" charset="0"/>
              </a:rPr>
              <a:t>results</a:t>
            </a:r>
            <a:endParaRPr lang="en-US" altLang="en-US" sz="12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0" name="Rectangle 90"/>
          <p:cNvSpPr>
            <a:spLocks noChangeArrowheads="1"/>
          </p:cNvSpPr>
          <p:nvPr/>
        </p:nvSpPr>
        <p:spPr bwMode="gray">
          <a:xfrm>
            <a:off x="7093751" y="3635697"/>
            <a:ext cx="2316163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6000" tIns="0" rIns="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90500" indent="-19050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371475" indent="-179388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81025" indent="-207963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814388" indent="-2317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715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287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859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431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0"/>
              </a:spcAft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Drives program forward, defines common approach and monitors progress activities</a:t>
            </a:r>
          </a:p>
        </p:txBody>
      </p:sp>
      <p:sp>
        <p:nvSpPr>
          <p:cNvPr id="41" name="Line 91"/>
          <p:cNvSpPr>
            <a:spLocks noChangeShapeType="1"/>
          </p:cNvSpPr>
          <p:nvPr/>
        </p:nvSpPr>
        <p:spPr bwMode="gray">
          <a:xfrm flipH="1">
            <a:off x="4169044" y="3141340"/>
            <a:ext cx="855" cy="70224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46304" tIns="146304" rIns="146304" bIns="146304" anchor="ctr"/>
          <a:lstStyle/>
          <a:p>
            <a:endParaRPr lang="en-US" sz="12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2" name="Line 92"/>
          <p:cNvSpPr>
            <a:spLocks noChangeShapeType="1"/>
          </p:cNvSpPr>
          <p:nvPr/>
        </p:nvSpPr>
        <p:spPr bwMode="gray">
          <a:xfrm flipH="1">
            <a:off x="837763" y="3642102"/>
            <a:ext cx="2788839" cy="2448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46304" tIns="146304" rIns="146304" bIns="146304" anchor="ctr"/>
          <a:lstStyle/>
          <a:p>
            <a:endParaRPr lang="en-US" sz="12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3" name="Rectangle 95"/>
          <p:cNvSpPr>
            <a:spLocks noChangeArrowheads="1"/>
          </p:cNvSpPr>
          <p:nvPr/>
        </p:nvSpPr>
        <p:spPr bwMode="gray">
          <a:xfrm>
            <a:off x="505708" y="5045585"/>
            <a:ext cx="176212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6000" tIns="0" rIns="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90500" indent="-19050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371475" indent="-179388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81025" indent="-207963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814388" indent="-2317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715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287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859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431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0"/>
              </a:spcAft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Responsible for </a:t>
            </a:r>
            <a:r>
              <a:rPr lang="en-US" altLang="en-US" sz="1200" dirty="0" smtClean="0">
                <a:latin typeface="Baskerville" charset="0"/>
                <a:ea typeface="Baskerville" charset="0"/>
                <a:cs typeface="Baskerville" charset="0"/>
              </a:rPr>
              <a:t>deliverables</a:t>
            </a:r>
            <a:endParaRPr lang="en-US" altLang="en-US" sz="1200" dirty="0">
              <a:latin typeface="Baskerville" charset="0"/>
              <a:ea typeface="Baskerville" charset="0"/>
              <a:cs typeface="Baskerville" charset="0"/>
            </a:endParaRPr>
          </a:p>
          <a:p>
            <a:pPr lvl="1">
              <a:spcAft>
                <a:spcPct val="0"/>
              </a:spcAft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Responsible for risk management</a:t>
            </a:r>
          </a:p>
          <a:p>
            <a:pPr lvl="1">
              <a:spcAft>
                <a:spcPct val="0"/>
              </a:spcAft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Develops best practices for sharing across teams</a:t>
            </a:r>
          </a:p>
        </p:txBody>
      </p:sp>
      <p:sp>
        <p:nvSpPr>
          <p:cNvPr id="44" name="Line 96"/>
          <p:cNvSpPr>
            <a:spLocks noChangeShapeType="1"/>
          </p:cNvSpPr>
          <p:nvPr/>
        </p:nvSpPr>
        <p:spPr bwMode="gray">
          <a:xfrm>
            <a:off x="2394913" y="4986846"/>
            <a:ext cx="7323" cy="1119485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46304" tIns="146304" rIns="146304" bIns="146304" anchor="ctr"/>
          <a:lstStyle/>
          <a:p>
            <a:endParaRPr lang="en-US" sz="12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8" name="Rectangle 100"/>
          <p:cNvSpPr>
            <a:spLocks noChangeArrowheads="1"/>
          </p:cNvSpPr>
          <p:nvPr/>
        </p:nvSpPr>
        <p:spPr bwMode="gray">
          <a:xfrm>
            <a:off x="10074109" y="2505156"/>
            <a:ext cx="1890583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6000" tIns="0" rIns="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90500" indent="-19050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371475" indent="-179388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581025" indent="-207963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814388" indent="-2317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2715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17287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1859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2643188" indent="-2317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0"/>
              </a:spcAft>
            </a:pPr>
            <a:r>
              <a:rPr lang="en-US" altLang="en-US" sz="1200">
                <a:latin typeface="Baskerville" charset="0"/>
                <a:ea typeface="Baskerville" charset="0"/>
                <a:cs typeface="Baskerville" charset="0"/>
              </a:rPr>
              <a:t>Provides feedback on project approach and results</a:t>
            </a:r>
          </a:p>
          <a:p>
            <a:pPr lvl="1">
              <a:spcAft>
                <a:spcPct val="0"/>
              </a:spcAft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Identifies alignment need with other programs</a:t>
            </a:r>
          </a:p>
        </p:txBody>
      </p:sp>
      <p:sp>
        <p:nvSpPr>
          <p:cNvPr id="51" name="Line 103"/>
          <p:cNvSpPr>
            <a:spLocks noChangeShapeType="1"/>
          </p:cNvSpPr>
          <p:nvPr/>
        </p:nvSpPr>
        <p:spPr bwMode="gray">
          <a:xfrm>
            <a:off x="4169899" y="1973504"/>
            <a:ext cx="0" cy="45720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46304" tIns="146304" rIns="146304" bIns="146304" anchor="ctr"/>
          <a:lstStyle/>
          <a:p>
            <a:endParaRPr lang="en-US" sz="12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57" name="Rectangle 82"/>
          <p:cNvSpPr>
            <a:spLocks noChangeArrowheads="1"/>
          </p:cNvSpPr>
          <p:nvPr/>
        </p:nvSpPr>
        <p:spPr bwMode="gray">
          <a:xfrm>
            <a:off x="8695056" y="5257483"/>
            <a:ext cx="1911350" cy="803275"/>
          </a:xfrm>
          <a:prstGeom prst="rect">
            <a:avLst/>
          </a:prstGeom>
          <a:solidFill>
            <a:srgbClr val="FFFFFF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tx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72000" tIns="72000" rIns="72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14300" indent="-112713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747713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108075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468438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9256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3828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8400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2972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20000"/>
              </a:spcAft>
              <a:buClr>
                <a:prstClr val="black"/>
              </a:buClr>
              <a:buFontTx/>
              <a:buChar char="•"/>
            </a:pPr>
            <a:r>
              <a:rPr lang="en-US" altLang="en-US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mr-IN" altLang="en-US" sz="1200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altLang="en-US" sz="12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58" name="Rectangle 83"/>
          <p:cNvSpPr>
            <a:spLocks noChangeArrowheads="1"/>
          </p:cNvSpPr>
          <p:nvPr/>
        </p:nvSpPr>
        <p:spPr bwMode="gray">
          <a:xfrm>
            <a:off x="8695056" y="4941570"/>
            <a:ext cx="1911350" cy="3190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lIns="72000" tIns="72000" rIns="72000" bIns="0"/>
          <a:lstStyle>
            <a:lvl1pPr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114300" indent="-112713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747713" indent="-207963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108075" indent="-180975">
              <a:spcAft>
                <a:spcPct val="30000"/>
              </a:spcAft>
              <a:buSzPct val="100000"/>
              <a:buFont typeface="Wingdings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1468438" indent="-180975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19256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3828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28400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297238" indent="-180975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10000"/>
              </a:spcAft>
            </a:pPr>
            <a:r>
              <a:rPr lang="en-US" altLang="en-US" sz="1200" b="1" dirty="0" smtClean="0">
                <a:latin typeface="Baskerville" charset="0"/>
                <a:ea typeface="Baskerville" charset="0"/>
                <a:cs typeface="Baskerville" charset="0"/>
              </a:rPr>
              <a:t>Workstream-4</a:t>
            </a:r>
            <a:endParaRPr lang="en-US" altLang="en-US" sz="1200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cxnSp>
        <p:nvCxnSpPr>
          <p:cNvPr id="4" name="Elbow Connector 3"/>
          <p:cNvCxnSpPr>
            <a:stCxn id="16" idx="2"/>
            <a:endCxn id="31" idx="0"/>
          </p:cNvCxnSpPr>
          <p:nvPr/>
        </p:nvCxnSpPr>
        <p:spPr>
          <a:xfrm rot="5400000">
            <a:off x="3960220" y="3336221"/>
            <a:ext cx="1131865" cy="214658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Elbow Connector 5"/>
          <p:cNvCxnSpPr>
            <a:stCxn id="16" idx="2"/>
            <a:endCxn id="35" idx="0"/>
          </p:cNvCxnSpPr>
          <p:nvPr/>
        </p:nvCxnSpPr>
        <p:spPr>
          <a:xfrm rot="5400000">
            <a:off x="4999636" y="4376633"/>
            <a:ext cx="1132860" cy="6675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>
            <a:stCxn id="16" idx="2"/>
            <a:endCxn id="37" idx="0"/>
          </p:cNvCxnSpPr>
          <p:nvPr/>
        </p:nvCxnSpPr>
        <p:spPr>
          <a:xfrm rot="16200000" flipH="1">
            <a:off x="6045455" y="3397567"/>
            <a:ext cx="1116071" cy="200809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>
            <a:stCxn id="16" idx="2"/>
            <a:endCxn id="58" idx="0"/>
          </p:cNvCxnSpPr>
          <p:nvPr/>
        </p:nvCxnSpPr>
        <p:spPr>
          <a:xfrm rot="16200000" flipH="1">
            <a:off x="7076092" y="2366931"/>
            <a:ext cx="1097990" cy="405128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24" idx="2"/>
            <a:endCxn id="17" idx="0"/>
          </p:cNvCxnSpPr>
          <p:nvPr/>
        </p:nvCxnSpPr>
        <p:spPr>
          <a:xfrm flipH="1">
            <a:off x="5599443" y="2456104"/>
            <a:ext cx="4762" cy="6891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70"/>
          <p:cNvCxnSpPr>
            <a:stCxn id="24" idx="2"/>
            <a:endCxn id="26" idx="1"/>
          </p:cNvCxnSpPr>
          <p:nvPr/>
        </p:nvCxnSpPr>
        <p:spPr>
          <a:xfrm rot="5400000">
            <a:off x="4432753" y="1635232"/>
            <a:ext cx="350581" cy="199232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Elbow Connector 72"/>
          <p:cNvCxnSpPr>
            <a:stCxn id="24" idx="2"/>
          </p:cNvCxnSpPr>
          <p:nvPr/>
        </p:nvCxnSpPr>
        <p:spPr>
          <a:xfrm rot="16200000" flipH="1">
            <a:off x="6385896" y="1674412"/>
            <a:ext cx="364588" cy="192797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Line 91"/>
          <p:cNvSpPr>
            <a:spLocks noChangeShapeType="1"/>
          </p:cNvSpPr>
          <p:nvPr/>
        </p:nvSpPr>
        <p:spPr bwMode="gray">
          <a:xfrm flipH="1">
            <a:off x="9838840" y="2549821"/>
            <a:ext cx="855" cy="70224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46304" tIns="146304" rIns="146304" bIns="146304" anchor="ctr"/>
          <a:lstStyle/>
          <a:p>
            <a:endParaRPr lang="en-US" sz="1200">
              <a:solidFill>
                <a:prstClr val="blac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368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845" y="519622"/>
            <a:ext cx="10515600" cy="1325563"/>
          </a:xfrm>
        </p:spPr>
        <p:txBody>
          <a:bodyPr/>
          <a:lstStyle/>
          <a:p>
            <a:r>
              <a:rPr lang="en-US" dirty="0" smtClean="0"/>
              <a:t>Impact Reporting - TEMPLA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</a:t>
            </a:fld>
            <a:endParaRPr lang="en-US"/>
          </a:p>
        </p:txBody>
      </p:sp>
      <p:cxnSp>
        <p:nvCxnSpPr>
          <p:cNvPr id="43" name="Straight Connector 42"/>
          <p:cNvCxnSpPr/>
          <p:nvPr>
            <p:custDataLst>
              <p:tags r:id="rId2"/>
            </p:custDataLst>
          </p:nvPr>
        </p:nvCxnSpPr>
        <p:spPr bwMode="auto">
          <a:xfrm>
            <a:off x="3835660" y="4457506"/>
            <a:ext cx="447675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>
            <p:custDataLst>
              <p:tags r:id="rId3"/>
            </p:custDataLst>
          </p:nvPr>
        </p:nvCxnSpPr>
        <p:spPr bwMode="auto">
          <a:xfrm>
            <a:off x="4835785" y="4457506"/>
            <a:ext cx="447675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44"/>
          <p:cNvCxnSpPr/>
          <p:nvPr>
            <p:custDataLst>
              <p:tags r:id="rId4"/>
            </p:custDataLst>
          </p:nvPr>
        </p:nvCxnSpPr>
        <p:spPr bwMode="auto">
          <a:xfrm>
            <a:off x="3835660" y="3676456"/>
            <a:ext cx="447675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/>
          <p:cNvCxnSpPr/>
          <p:nvPr>
            <p:custDataLst>
              <p:tags r:id="rId5"/>
            </p:custDataLst>
          </p:nvPr>
        </p:nvCxnSpPr>
        <p:spPr bwMode="auto">
          <a:xfrm>
            <a:off x="4835785" y="3676457"/>
            <a:ext cx="447675" cy="314325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7" name="Object 46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1930659" y="2142931"/>
          <a:ext cx="4247960" cy="3362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Chart" r:id="rId33" imgW="4248150" imgH="3362325" progId="MSGraph.Chart.8">
                  <p:embed followColorScheme="full"/>
                </p:oleObj>
              </mc:Choice>
              <mc:Fallback>
                <p:oleObj name="Chart" r:id="rId33" imgW="4248150" imgH="33623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930659" y="2142931"/>
                        <a:ext cx="4247960" cy="3362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8" name="Straight Connector 47"/>
          <p:cNvCxnSpPr/>
          <p:nvPr>
            <p:custDataLst>
              <p:tags r:id="rId7"/>
            </p:custDataLst>
          </p:nvPr>
        </p:nvCxnSpPr>
        <p:spPr bwMode="auto">
          <a:xfrm>
            <a:off x="3273685" y="2266756"/>
            <a:ext cx="561975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>
            <p:custDataLst>
              <p:tags r:id="rId8"/>
            </p:custDataLst>
          </p:nvPr>
        </p:nvCxnSpPr>
        <p:spPr bwMode="auto">
          <a:xfrm>
            <a:off x="3273684" y="2266757"/>
            <a:ext cx="0" cy="600075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/>
          <p:cNvCxnSpPr/>
          <p:nvPr>
            <p:custDataLst>
              <p:tags r:id="rId9"/>
            </p:custDataLst>
          </p:nvPr>
        </p:nvCxnSpPr>
        <p:spPr bwMode="auto">
          <a:xfrm>
            <a:off x="3835659" y="2266757"/>
            <a:ext cx="0" cy="600075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/>
          <p:cNvCxnSpPr/>
          <p:nvPr>
            <p:custDataLst>
              <p:tags r:id="rId10"/>
            </p:custDataLst>
          </p:nvPr>
        </p:nvCxnSpPr>
        <p:spPr bwMode="auto">
          <a:xfrm>
            <a:off x="5283459" y="2266757"/>
            <a:ext cx="0" cy="1724025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51"/>
          <p:cNvCxnSpPr/>
          <p:nvPr>
            <p:custDataLst>
              <p:tags r:id="rId11"/>
            </p:custDataLst>
          </p:nvPr>
        </p:nvCxnSpPr>
        <p:spPr bwMode="auto">
          <a:xfrm>
            <a:off x="4835784" y="2266756"/>
            <a:ext cx="0" cy="140970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52"/>
          <p:cNvCxnSpPr/>
          <p:nvPr>
            <p:custDataLst>
              <p:tags r:id="rId12"/>
            </p:custDataLst>
          </p:nvPr>
        </p:nvCxnSpPr>
        <p:spPr bwMode="auto">
          <a:xfrm>
            <a:off x="5283459" y="2266756"/>
            <a:ext cx="55245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/>
          <p:cNvCxnSpPr/>
          <p:nvPr>
            <p:custDataLst>
              <p:tags r:id="rId13"/>
            </p:custDataLst>
          </p:nvPr>
        </p:nvCxnSpPr>
        <p:spPr bwMode="auto">
          <a:xfrm>
            <a:off x="4283334" y="2266756"/>
            <a:ext cx="0" cy="140970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/>
          <p:cNvCxnSpPr/>
          <p:nvPr>
            <p:custDataLst>
              <p:tags r:id="rId14"/>
            </p:custDataLst>
          </p:nvPr>
        </p:nvCxnSpPr>
        <p:spPr bwMode="auto">
          <a:xfrm>
            <a:off x="5835909" y="2266757"/>
            <a:ext cx="0" cy="1724025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/>
          <p:cNvCxnSpPr/>
          <p:nvPr>
            <p:custDataLst>
              <p:tags r:id="rId15"/>
            </p:custDataLst>
          </p:nvPr>
        </p:nvCxnSpPr>
        <p:spPr bwMode="auto">
          <a:xfrm>
            <a:off x="4283334" y="2266756"/>
            <a:ext cx="55245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57"/>
          <p:cNvSpPr/>
          <p:nvPr>
            <p:custDataLst>
              <p:tags r:id="rId16"/>
            </p:custDataLst>
          </p:nvPr>
        </p:nvSpPr>
        <p:spPr bwMode="gray">
          <a:xfrm>
            <a:off x="2425959" y="3960620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FC927DF-E768-4527-89CB-FE0B85895BAA}" type="datetime'''''''''''''''''''2''''''''''''''''''''''''5'''">
              <a:rPr lang="en-US" sz="1600">
                <a:latin typeface="Baskerville" charset="0"/>
                <a:ea typeface="Baskerville" charset="0"/>
                <a:cs typeface="Baskerville" charset="0"/>
                <a:sym typeface="Frutiger 55 Roman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Frutiger 55 Roman"/>
            </a:endParaRPr>
          </a:p>
        </p:txBody>
      </p:sp>
      <p:sp>
        <p:nvSpPr>
          <p:cNvPr id="75" name="Rectangle 74"/>
          <p:cNvSpPr/>
          <p:nvPr>
            <p:custDataLst>
              <p:tags r:id="rId17"/>
            </p:custDataLst>
          </p:nvPr>
        </p:nvSpPr>
        <p:spPr bwMode="gray">
          <a:xfrm>
            <a:off x="2425959" y="3165282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9EA53099-5223-4354-9218-029EC01F4A67}" type="datetime'''''''''''''''''''''''2''''''''6'''''''">
              <a:rPr lang="en-US" sz="1600">
                <a:latin typeface="Baskerville" charset="0"/>
                <a:ea typeface="Baskerville" charset="0"/>
                <a:cs typeface="Baskerville" charset="0"/>
                <a:sym typeface="Frutiger 55 Roman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Frutiger 55 Roman"/>
            </a:endParaRPr>
          </a:p>
        </p:txBody>
      </p:sp>
      <p:sp>
        <p:nvSpPr>
          <p:cNvPr id="76" name="Rectangle 75"/>
          <p:cNvSpPr/>
          <p:nvPr>
            <p:custDataLst>
              <p:tags r:id="rId18"/>
            </p:custDataLst>
          </p:nvPr>
        </p:nvSpPr>
        <p:spPr bwMode="gray">
          <a:xfrm>
            <a:off x="2425959" y="2460432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332C60C0-637D-4C43-867C-A86E086A8AED}" type="datetime'''''''''''''''''''''''''1''''''''''''''''''''''9'''''''''">
              <a:rPr lang="en-US" sz="1600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sz="1600" dirty="0">
              <a:solidFill>
                <a:schemeClr val="bg1"/>
              </a:solidFill>
              <a:latin typeface="Baskerville" charset="0"/>
              <a:ea typeface="Baskerville" charset="0"/>
              <a:cs typeface="Baskerville" charset="0"/>
              <a:sym typeface="+mn-lt"/>
            </a:endParaRPr>
          </a:p>
        </p:txBody>
      </p:sp>
      <p:sp>
        <p:nvSpPr>
          <p:cNvPr id="81" name="Rectangle 80"/>
          <p:cNvSpPr/>
          <p:nvPr>
            <p:custDataLst>
              <p:tags r:id="rId19"/>
            </p:custDataLst>
          </p:nvPr>
        </p:nvSpPr>
        <p:spPr bwMode="gray">
          <a:xfrm>
            <a:off x="2376748" y="2028632"/>
            <a:ext cx="3460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BD600B9E-8572-40C5-901B-8781DA72C874}" type="datetime'''''10''''''''''''''''0'''''''''''''''''''''''''''''">
              <a:rPr lang="en-US" sz="1600">
                <a:latin typeface="Baskerville" charset="0"/>
                <a:ea typeface="Baskerville" charset="0"/>
                <a:cs typeface="Baskerville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+mn-lt"/>
            </a:endParaRPr>
          </a:p>
        </p:txBody>
      </p:sp>
      <p:sp>
        <p:nvSpPr>
          <p:cNvPr id="87" name="Rectangle 86"/>
          <p:cNvSpPr/>
          <p:nvPr>
            <p:custDataLst>
              <p:tags r:id="rId20"/>
            </p:custDataLst>
          </p:nvPr>
        </p:nvSpPr>
        <p:spPr bwMode="gray">
          <a:xfrm>
            <a:off x="3430847" y="3960620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1F6DA28E-9603-4FEF-B339-EE7174CF1C7E}" type="datetime'''''''''''''''''''''''''2''5'''''''''''''''''''''''''''''''">
              <a:rPr lang="en-US" sz="1600">
                <a:latin typeface="Baskerville" charset="0"/>
                <a:ea typeface="Baskerville" charset="0"/>
                <a:cs typeface="Baskerville" charset="0"/>
                <a:sym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+mn-lt"/>
            </a:endParaRPr>
          </a:p>
        </p:txBody>
      </p:sp>
      <p:sp>
        <p:nvSpPr>
          <p:cNvPr id="88" name="Rectangle 87"/>
          <p:cNvSpPr/>
          <p:nvPr>
            <p:custDataLst>
              <p:tags r:id="rId21"/>
            </p:custDataLst>
          </p:nvPr>
        </p:nvSpPr>
        <p:spPr bwMode="gray">
          <a:xfrm>
            <a:off x="3430847" y="3165282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5F3F840C-88F6-42F6-99EF-0C1384FF7E4A}" type="datetime'''2''''''''''''''''''''6'''''''''">
              <a:rPr lang="en-US" sz="1600">
                <a:latin typeface="Baskerville" charset="0"/>
                <a:ea typeface="Baskerville" charset="0"/>
                <a:cs typeface="Baskerville" charset="0"/>
                <a:sym typeface="Frutiger 55 Roman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Frutiger 55 Roman"/>
            </a:endParaRPr>
          </a:p>
        </p:txBody>
      </p:sp>
      <p:sp>
        <p:nvSpPr>
          <p:cNvPr id="89" name="Rectangle 88"/>
          <p:cNvSpPr/>
          <p:nvPr>
            <p:custDataLst>
              <p:tags r:id="rId22"/>
            </p:custDataLst>
          </p:nvPr>
        </p:nvSpPr>
        <p:spPr bwMode="gray">
          <a:xfrm>
            <a:off x="4435734" y="3960620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BF6547D-B00E-4B92-A495-3B1373B03595}" type="datetime'''''''''''''2''''''''''''''''''''''5'''''''''''''''''''">
              <a:rPr lang="en-US" sz="1600">
                <a:latin typeface="Baskerville" charset="0"/>
                <a:ea typeface="Baskerville" charset="0"/>
                <a:cs typeface="Baskerville" charset="0"/>
                <a:sym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+mn-lt"/>
            </a:endParaRPr>
          </a:p>
        </p:txBody>
      </p:sp>
      <p:sp>
        <p:nvSpPr>
          <p:cNvPr id="90" name="Rectangle 89"/>
          <p:cNvSpPr/>
          <p:nvPr>
            <p:custDataLst>
              <p:tags r:id="rId23"/>
            </p:custDataLst>
          </p:nvPr>
        </p:nvSpPr>
        <p:spPr bwMode="auto">
          <a:xfrm>
            <a:off x="3148272" y="5562406"/>
            <a:ext cx="812800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2D22D4E7-D873-4A41-8099-E97C6E21CDDA}" type="datetime'''''''''''I''n''itia''tive''s'''' ''d''''''e''c''i''d''''ed'''">
              <a:rPr lang="en-US" sz="1600">
                <a:latin typeface="Baskerville" charset="0"/>
                <a:ea typeface="Baskerville" charset="0"/>
                <a:cs typeface="Baskerville" charset="0"/>
                <a:sym typeface="Frutiger 55 Roman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Initiatives decided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Frutiger 55 Roman"/>
            </a:endParaRPr>
          </a:p>
        </p:txBody>
      </p:sp>
      <p:sp>
        <p:nvSpPr>
          <p:cNvPr id="91" name="Rectangle 90"/>
          <p:cNvSpPr/>
          <p:nvPr>
            <p:custDataLst>
              <p:tags r:id="rId24"/>
            </p:custDataLst>
          </p:nvPr>
        </p:nvSpPr>
        <p:spPr bwMode="auto">
          <a:xfrm>
            <a:off x="2143384" y="5562406"/>
            <a:ext cx="812800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94D3757D-39CE-49C8-A705-7D1D5BC4B6D5}" type="datetime'Initi''at''iv''e''''''s'''' p''''l''''a''''nned'''''''''''''">
              <a:rPr lang="en-US" sz="1600">
                <a:latin typeface="Baskerville" charset="0"/>
                <a:ea typeface="Baskerville" charset="0"/>
                <a:cs typeface="Baskerville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Initiatives planned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+mn-lt"/>
            </a:endParaRPr>
          </a:p>
        </p:txBody>
      </p:sp>
      <p:sp>
        <p:nvSpPr>
          <p:cNvPr id="92" name="Rectangle 91"/>
          <p:cNvSpPr/>
          <p:nvPr>
            <p:custDataLst>
              <p:tags r:id="rId25"/>
            </p:custDataLst>
          </p:nvPr>
        </p:nvSpPr>
        <p:spPr bwMode="gray">
          <a:xfrm>
            <a:off x="5435859" y="4822632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57E29911-D14A-4721-985D-66E70A998ACD}" type="datetime'''''''''''''''3''''''0'''''''''''''''''''">
              <a:rPr lang="en-US" sz="1600">
                <a:latin typeface="Baskerville" charset="0"/>
                <a:ea typeface="Baskerville" charset="0"/>
                <a:cs typeface="Baskerville" charset="0"/>
                <a:sym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+mn-lt"/>
            </a:endParaRPr>
          </a:p>
        </p:txBody>
      </p:sp>
      <p:sp>
        <p:nvSpPr>
          <p:cNvPr id="93" name="Rectangle 92"/>
          <p:cNvSpPr/>
          <p:nvPr>
            <p:custDataLst>
              <p:tags r:id="rId26"/>
            </p:custDataLst>
          </p:nvPr>
        </p:nvSpPr>
        <p:spPr bwMode="auto">
          <a:xfrm>
            <a:off x="4134109" y="5562406"/>
            <a:ext cx="850900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37A0E414-A499-44C7-86AF-D57BD7A2CC15}" type="datetime'''Ini''t''ia''ti''''v''''ed'''''' ''''''''''''s''''t''a''rted'">
              <a:rPr lang="en-US" sz="1600">
                <a:latin typeface="Baskerville" charset="0"/>
                <a:ea typeface="Baskerville" charset="0"/>
                <a:cs typeface="Baskerville" charset="0"/>
                <a:sym typeface="Frutiger 55 Roman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Initiatived started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Frutiger 55 Roman"/>
            </a:endParaRPr>
          </a:p>
        </p:txBody>
      </p:sp>
      <p:sp>
        <p:nvSpPr>
          <p:cNvPr id="94" name="Rectangle 93"/>
          <p:cNvSpPr/>
          <p:nvPr>
            <p:custDataLst>
              <p:tags r:id="rId27"/>
            </p:custDataLst>
          </p:nvPr>
        </p:nvSpPr>
        <p:spPr bwMode="gray">
          <a:xfrm>
            <a:off x="3430847" y="4822632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0C6E5AE-579D-4F93-B15F-E2EAF3746B53}" type="datetime'''''''''''''''''''''''''''''''''''''3''0'''''''''''''''''">
              <a:rPr lang="en-US" sz="1600">
                <a:latin typeface="Baskerville" charset="0"/>
                <a:ea typeface="Baskerville" charset="0"/>
                <a:cs typeface="Baskerville" charset="0"/>
                <a:sym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+mn-lt"/>
            </a:endParaRPr>
          </a:p>
        </p:txBody>
      </p:sp>
      <p:sp>
        <p:nvSpPr>
          <p:cNvPr id="95" name="Rectangle 94"/>
          <p:cNvSpPr/>
          <p:nvPr>
            <p:custDataLst>
              <p:tags r:id="rId28"/>
            </p:custDataLst>
          </p:nvPr>
        </p:nvSpPr>
        <p:spPr bwMode="gray">
          <a:xfrm>
            <a:off x="2425959" y="4822632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E0D79863-7E0D-4927-BF1D-129F994F769E}" type="datetime'''''''''''3''''''0'''">
              <a:rPr lang="en-US" sz="1600">
                <a:latin typeface="Baskerville" charset="0"/>
                <a:ea typeface="Baskerville" charset="0"/>
                <a:cs typeface="Baskerville" charset="0"/>
                <a:sym typeface="Frutiger 55 Roman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Frutiger 55 Roman"/>
            </a:endParaRPr>
          </a:p>
        </p:txBody>
      </p:sp>
      <p:sp>
        <p:nvSpPr>
          <p:cNvPr id="96" name="Rectangle 95"/>
          <p:cNvSpPr/>
          <p:nvPr>
            <p:custDataLst>
              <p:tags r:id="rId29"/>
            </p:custDataLst>
          </p:nvPr>
        </p:nvSpPr>
        <p:spPr bwMode="auto">
          <a:xfrm>
            <a:off x="5115184" y="5562406"/>
            <a:ext cx="890588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F9AAB88F-BD72-442D-861C-4C9674F0E46D}" type="datetime'Ini''''ti''''a''''t''ive''s ''''comp''l''''et''''''''e''''''d'">
              <a:rPr lang="en-US" sz="1600">
                <a:latin typeface="Baskerville" charset="0"/>
                <a:ea typeface="Baskerville" charset="0"/>
                <a:cs typeface="Baskerville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Initiatives completed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Frutiger 55 Roman"/>
            </a:endParaRPr>
          </a:p>
        </p:txBody>
      </p:sp>
      <p:sp>
        <p:nvSpPr>
          <p:cNvPr id="97" name="Rectangle 96"/>
          <p:cNvSpPr/>
          <p:nvPr>
            <p:custDataLst>
              <p:tags r:id="rId30"/>
            </p:custDataLst>
          </p:nvPr>
        </p:nvSpPr>
        <p:spPr bwMode="gray">
          <a:xfrm>
            <a:off x="5435859" y="4117782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56CBD68C-E81E-493D-AB54-732EDEA837C0}" type="datetime'''''''''''''''''1''''''''''''''''''''''''''''''''''''''''''5'">
              <a:rPr lang="en-US" sz="1600">
                <a:latin typeface="Baskerville" charset="0"/>
                <a:ea typeface="Baskerville" charset="0"/>
                <a:cs typeface="Baskerville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+mn-lt"/>
            </a:endParaRPr>
          </a:p>
        </p:txBody>
      </p:sp>
      <p:sp>
        <p:nvSpPr>
          <p:cNvPr id="99" name="Rectangle 98"/>
          <p:cNvSpPr/>
          <p:nvPr>
            <p:custDataLst>
              <p:tags r:id="rId31"/>
            </p:custDataLst>
          </p:nvPr>
        </p:nvSpPr>
        <p:spPr bwMode="gray">
          <a:xfrm>
            <a:off x="4435734" y="4822632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7C1E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70050CFE-00E3-4B7A-B6AB-99BE334A70F5}" type="datetime'''''''''''''''''''''''''''''''''''''''''''30'''''''''''">
              <a:rPr lang="en-US" sz="1600">
                <a:latin typeface="Baskerville" charset="0"/>
                <a:ea typeface="Baskerville" charset="0"/>
                <a:cs typeface="Baskerville" charset="0"/>
                <a:sym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600" dirty="0">
              <a:latin typeface="Baskerville" charset="0"/>
              <a:ea typeface="Baskerville" charset="0"/>
              <a:cs typeface="Baskerville" charset="0"/>
              <a:sym typeface="+mn-lt"/>
            </a:endParaRPr>
          </a:p>
        </p:txBody>
      </p:sp>
      <p:cxnSp>
        <p:nvCxnSpPr>
          <p:cNvPr id="111" name="Straight Arrow Connector 110"/>
          <p:cNvCxnSpPr/>
          <p:nvPr/>
        </p:nvCxnSpPr>
        <p:spPr bwMode="auto">
          <a:xfrm flipV="1">
            <a:off x="2033847" y="1941790"/>
            <a:ext cx="0" cy="3456384"/>
          </a:xfrm>
          <a:prstGeom prst="straightConnector1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2" name="TextBox 111"/>
          <p:cNvSpPr txBox="1"/>
          <p:nvPr/>
        </p:nvSpPr>
        <p:spPr>
          <a:xfrm rot="16200000">
            <a:off x="918205" y="3156553"/>
            <a:ext cx="14861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atin typeface="Baskerville" charset="0"/>
                <a:ea typeface="Baskerville" charset="0"/>
                <a:cs typeface="Baskerville" charset="0"/>
              </a:rPr>
              <a:t>Savings  (in </a:t>
            </a:r>
            <a:r>
              <a:rPr lang="en-US" sz="1600" dirty="0" err="1">
                <a:latin typeface="Baskerville" charset="0"/>
                <a:ea typeface="Baskerville" charset="0"/>
                <a:cs typeface="Baskerville" charset="0"/>
              </a:rPr>
              <a:t>mUSD</a:t>
            </a:r>
            <a:r>
              <a:rPr lang="en-US" sz="1600" dirty="0">
                <a:latin typeface="Baskerville" charset="0"/>
                <a:ea typeface="Baskerville" charset="0"/>
                <a:cs typeface="Baskerville" charset="0"/>
              </a:rPr>
              <a:t>)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2264034" y="1715547"/>
            <a:ext cx="7762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atin typeface="Baskerville" charset="0"/>
                <a:ea typeface="Baskerville" charset="0"/>
                <a:cs typeface="Baskerville" charset="0"/>
              </a:rPr>
              <a:t>Target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5975609" y="2903671"/>
            <a:ext cx="10801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atin typeface="Baskerville" charset="0"/>
                <a:ea typeface="Baskerville" charset="0"/>
                <a:cs typeface="Baskerville" charset="0"/>
              </a:rPr>
              <a:t>Gap</a:t>
            </a:r>
            <a:br>
              <a:rPr lang="en-US" sz="1600" dirty="0">
                <a:latin typeface="Baskerville" charset="0"/>
                <a:ea typeface="Baskerville" charset="0"/>
                <a:cs typeface="Baskerville" charset="0"/>
              </a:rPr>
            </a:br>
            <a:r>
              <a:rPr lang="en-US" sz="1600" dirty="0">
                <a:latin typeface="Baskerville" charset="0"/>
                <a:ea typeface="Baskerville" charset="0"/>
                <a:cs typeface="Baskerville" charset="0"/>
              </a:rPr>
              <a:t>55 </a:t>
            </a:r>
            <a:r>
              <a:rPr lang="en-US" sz="1600" dirty="0" err="1">
                <a:latin typeface="Baskerville" charset="0"/>
                <a:ea typeface="Baskerville" charset="0"/>
                <a:cs typeface="Baskerville" charset="0"/>
              </a:rPr>
              <a:t>mUSD</a:t>
            </a:r>
            <a:endParaRPr lang="en-US" sz="16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15" name="Right Brace 114"/>
          <p:cNvSpPr/>
          <p:nvPr/>
        </p:nvSpPr>
        <p:spPr bwMode="auto">
          <a:xfrm>
            <a:off x="5853372" y="2266757"/>
            <a:ext cx="122238" cy="1724025"/>
          </a:xfrm>
          <a:prstGeom prst="rightBrace">
            <a:avLst/>
          </a:prstGeom>
          <a:solidFill>
            <a:schemeClr val="bg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16" name="Rounded Rectangle 115"/>
          <p:cNvSpPr/>
          <p:nvPr/>
        </p:nvSpPr>
        <p:spPr bwMode="auto">
          <a:xfrm>
            <a:off x="7401905" y="1886060"/>
            <a:ext cx="3783293" cy="4258345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mr-IN" sz="1600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endParaRPr lang="en-US" sz="1600" dirty="0" smtClean="0">
              <a:latin typeface="Baskerville" charset="0"/>
              <a:ea typeface="Baskerville" charset="0"/>
              <a:cs typeface="Baskerville" charset="0"/>
            </a:endParaRPr>
          </a:p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endParaRPr lang="en-US" sz="1600" dirty="0">
              <a:latin typeface="Baskerville" charset="0"/>
              <a:ea typeface="Baskerville" charset="0"/>
              <a:cs typeface="Baskerville" charset="0"/>
            </a:endParaRPr>
          </a:p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mr-IN" sz="1600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r>
              <a:rPr lang="en-US" sz="1600" dirty="0" smtClean="0">
                <a:latin typeface="Baskerville" charset="0"/>
                <a:ea typeface="Baskerville" charset="0"/>
                <a:cs typeface="Baskerville" charset="0"/>
              </a:rPr>
              <a:t>.</a:t>
            </a:r>
          </a:p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endParaRPr lang="en-US" sz="1600" dirty="0" smtClean="0">
              <a:latin typeface="Baskerville" charset="0"/>
              <a:ea typeface="Baskerville" charset="0"/>
              <a:cs typeface="Baskerville" charset="0"/>
            </a:endParaRPr>
          </a:p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mr-IN" sz="1600" dirty="0" smtClean="0">
                <a:latin typeface="Baskerville" charset="0"/>
                <a:ea typeface="Baskerville" charset="0"/>
                <a:cs typeface="Baskerville" charset="0"/>
              </a:rPr>
              <a:t>…</a:t>
            </a:r>
            <a:r>
              <a:rPr lang="en-US" sz="1600" dirty="0" smtClean="0">
                <a:latin typeface="Baskerville" charset="0"/>
                <a:ea typeface="Baskerville" charset="0"/>
                <a:cs typeface="Baskerville" charset="0"/>
              </a:rPr>
              <a:t>.</a:t>
            </a:r>
          </a:p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endParaRPr lang="en-US" sz="1600" dirty="0">
              <a:latin typeface="Baskerville" charset="0"/>
              <a:ea typeface="Baskerville" charset="0"/>
              <a:cs typeface="Baskerville" charset="0"/>
            </a:endParaRPr>
          </a:p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endParaRPr lang="en-US" sz="1600" dirty="0" smtClean="0">
              <a:latin typeface="Baskerville" charset="0"/>
              <a:ea typeface="Baskerville" charset="0"/>
              <a:cs typeface="Baskerville" charset="0"/>
            </a:endParaRPr>
          </a:p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endParaRPr lang="en-US" sz="1600" dirty="0">
              <a:latin typeface="Baskerville" charset="0"/>
              <a:ea typeface="Baskerville" charset="0"/>
              <a:cs typeface="Baskerville" charset="0"/>
            </a:endParaRPr>
          </a:p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endParaRPr lang="en-US" sz="16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17" name="Text Box 521"/>
          <p:cNvSpPr txBox="1">
            <a:spLocks noChangeArrowheads="1"/>
          </p:cNvSpPr>
          <p:nvPr/>
        </p:nvSpPr>
        <p:spPr bwMode="auto">
          <a:xfrm rot="1135633">
            <a:off x="5608939" y="1769437"/>
            <a:ext cx="1021653" cy="2746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Frutiger 55 Roman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Frutiger 55 Roman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Frutiger 55 Roman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Frutiger 55 Roman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Frutiger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Frutiger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Frutiger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Frutiger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Frutiger 55 Roman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latin typeface="Baskerville" charset="0"/>
                <a:ea typeface="Baskerville" charset="0"/>
                <a:cs typeface="Baskerville" charset="0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1165312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845" y="519622"/>
            <a:ext cx="10515600" cy="1325563"/>
          </a:xfrm>
        </p:spPr>
        <p:txBody>
          <a:bodyPr/>
          <a:lstStyle/>
          <a:p>
            <a:r>
              <a:rPr lang="en-US" dirty="0" smtClean="0"/>
              <a:t>Status Reporting - TEMPLA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1" name="Flowchart: Process 13"/>
          <p:cNvSpPr/>
          <p:nvPr/>
        </p:nvSpPr>
        <p:spPr bwMode="auto">
          <a:xfrm>
            <a:off x="1042458" y="2349451"/>
            <a:ext cx="1224136" cy="1224000"/>
          </a:xfrm>
          <a:prstGeom prst="flowChartProcess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42" name="Rounded Rectangle 41"/>
          <p:cNvSpPr/>
          <p:nvPr/>
        </p:nvSpPr>
        <p:spPr bwMode="auto">
          <a:xfrm>
            <a:off x="1474507" y="2607769"/>
            <a:ext cx="360040" cy="8640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cxnSp>
        <p:nvCxnSpPr>
          <p:cNvPr id="56" name="Straight Connector 55"/>
          <p:cNvCxnSpPr/>
          <p:nvPr/>
        </p:nvCxnSpPr>
        <p:spPr bwMode="auto">
          <a:xfrm>
            <a:off x="1042458" y="2114493"/>
            <a:ext cx="828092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extBox 58"/>
          <p:cNvSpPr txBox="1"/>
          <p:nvPr/>
        </p:nvSpPr>
        <p:spPr>
          <a:xfrm>
            <a:off x="1042458" y="1806717"/>
            <a:ext cx="6480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Baskerville" charset="0"/>
                <a:ea typeface="Baskerville" charset="0"/>
                <a:cs typeface="Baskerville" charset="0"/>
              </a:rPr>
              <a:t>Topic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458615" y="1806717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Baskerville" charset="0"/>
                <a:ea typeface="Baskerville" charset="0"/>
                <a:cs typeface="Baskerville" charset="0"/>
              </a:rPr>
              <a:t>Achievement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4738868" y="1622051"/>
            <a:ext cx="2304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Baskerville" charset="0"/>
                <a:ea typeface="Baskerville" charset="0"/>
                <a:cs typeface="Baskerville" charset="0"/>
              </a:rPr>
              <a:t>Issues/ Required inputs/ Decision need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595186" y="1622051"/>
            <a:ext cx="1727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Baskerville" charset="0"/>
                <a:ea typeface="Baskerville" charset="0"/>
                <a:cs typeface="Baskerville" charset="0"/>
              </a:rPr>
              <a:t>Next steps and Responsibilities</a:t>
            </a:r>
          </a:p>
        </p:txBody>
      </p:sp>
      <p:sp>
        <p:nvSpPr>
          <p:cNvPr id="63" name="Isosceles Triangle 9"/>
          <p:cNvSpPr/>
          <p:nvPr/>
        </p:nvSpPr>
        <p:spPr bwMode="auto">
          <a:xfrm rot="5400000">
            <a:off x="4066499" y="2800925"/>
            <a:ext cx="1102876" cy="199931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64" name="Isosceles Triangle 10"/>
          <p:cNvSpPr/>
          <p:nvPr/>
        </p:nvSpPr>
        <p:spPr bwMode="auto">
          <a:xfrm rot="5400000">
            <a:off x="6999698" y="2800925"/>
            <a:ext cx="1102875" cy="199931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cxnSp>
        <p:nvCxnSpPr>
          <p:cNvPr id="65" name="Straight Connector 64"/>
          <p:cNvCxnSpPr/>
          <p:nvPr/>
        </p:nvCxnSpPr>
        <p:spPr bwMode="auto">
          <a:xfrm flipV="1">
            <a:off x="1061119" y="3620884"/>
            <a:ext cx="828092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Flowchart: Process 14"/>
          <p:cNvSpPr/>
          <p:nvPr/>
        </p:nvSpPr>
        <p:spPr bwMode="auto">
          <a:xfrm>
            <a:off x="1042458" y="3728036"/>
            <a:ext cx="1224136" cy="1224000"/>
          </a:xfrm>
          <a:prstGeom prst="flowChartProcess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67" name="Flowchart: Process 15"/>
          <p:cNvSpPr/>
          <p:nvPr/>
        </p:nvSpPr>
        <p:spPr bwMode="auto">
          <a:xfrm>
            <a:off x="1042458" y="5106618"/>
            <a:ext cx="1224136" cy="1224000"/>
          </a:xfrm>
          <a:prstGeom prst="flowChartProcess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cxnSp>
        <p:nvCxnSpPr>
          <p:cNvPr id="68" name="Straight Connector 67"/>
          <p:cNvCxnSpPr/>
          <p:nvPr/>
        </p:nvCxnSpPr>
        <p:spPr bwMode="auto">
          <a:xfrm flipV="1">
            <a:off x="1061119" y="5008537"/>
            <a:ext cx="828092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9" name="TextBox 68"/>
          <p:cNvSpPr txBox="1"/>
          <p:nvPr/>
        </p:nvSpPr>
        <p:spPr>
          <a:xfrm>
            <a:off x="1042459" y="2353165"/>
            <a:ext cx="12241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latin typeface="Baskerville" charset="0"/>
                <a:ea typeface="Baskerville" charset="0"/>
                <a:cs typeface="Baskerville" charset="0"/>
              </a:rPr>
              <a:t>Overall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1042458" y="3728037"/>
            <a:ext cx="12241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latin typeface="Baskerville" charset="0"/>
                <a:ea typeface="Baskerville" charset="0"/>
                <a:cs typeface="Baskerville" charset="0"/>
              </a:rPr>
              <a:t>Workstream 1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042458" y="5106619"/>
            <a:ext cx="12241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latin typeface="Baskerville" charset="0"/>
                <a:ea typeface="Baskerville" charset="0"/>
                <a:cs typeface="Baskerville" charset="0"/>
              </a:rPr>
              <a:t>Workstream 2</a:t>
            </a:r>
          </a:p>
        </p:txBody>
      </p:sp>
      <p:sp>
        <p:nvSpPr>
          <p:cNvPr id="72" name="Oval 71"/>
          <p:cNvSpPr/>
          <p:nvPr/>
        </p:nvSpPr>
        <p:spPr bwMode="auto">
          <a:xfrm>
            <a:off x="1546514" y="2671393"/>
            <a:ext cx="216024" cy="21602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73" name="Oval 72"/>
          <p:cNvSpPr/>
          <p:nvPr/>
        </p:nvSpPr>
        <p:spPr bwMode="auto">
          <a:xfrm>
            <a:off x="1546514" y="2931805"/>
            <a:ext cx="216024" cy="21602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74" name="Oval 73"/>
          <p:cNvSpPr/>
          <p:nvPr/>
        </p:nvSpPr>
        <p:spPr bwMode="auto">
          <a:xfrm>
            <a:off x="1546514" y="3192217"/>
            <a:ext cx="216024" cy="216024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77" name="Rounded Rectangle 76"/>
          <p:cNvSpPr/>
          <p:nvPr/>
        </p:nvSpPr>
        <p:spPr bwMode="auto">
          <a:xfrm>
            <a:off x="9935749" y="5432444"/>
            <a:ext cx="360040" cy="8640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78" name="Oval 77"/>
          <p:cNvSpPr/>
          <p:nvPr/>
        </p:nvSpPr>
        <p:spPr bwMode="auto">
          <a:xfrm>
            <a:off x="10007756" y="5496068"/>
            <a:ext cx="216024" cy="216024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79" name="Oval 78"/>
          <p:cNvSpPr/>
          <p:nvPr/>
        </p:nvSpPr>
        <p:spPr bwMode="auto">
          <a:xfrm>
            <a:off x="10007756" y="5756480"/>
            <a:ext cx="216024" cy="216024"/>
          </a:xfrm>
          <a:prstGeom prst="ellipse">
            <a:avLst/>
          </a:prstGeom>
          <a:solidFill>
            <a:srgbClr val="FFD1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80" name="Oval 79"/>
          <p:cNvSpPr/>
          <p:nvPr/>
        </p:nvSpPr>
        <p:spPr bwMode="auto">
          <a:xfrm>
            <a:off x="10007756" y="6016892"/>
            <a:ext cx="216024" cy="216024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82" name="Flowchart: Process 38"/>
          <p:cNvSpPr/>
          <p:nvPr/>
        </p:nvSpPr>
        <p:spPr bwMode="gray">
          <a:xfrm>
            <a:off x="10583821" y="5512092"/>
            <a:ext cx="1511398" cy="864096"/>
          </a:xfrm>
          <a:prstGeom prst="flowChartProcess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0317506" y="6025659"/>
            <a:ext cx="17274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Baskerville" charset="0"/>
                <a:ea typeface="Baskerville" charset="0"/>
                <a:cs typeface="Baskerville" charset="0"/>
              </a:rPr>
              <a:t>Delivery is on track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305314" y="5754063"/>
            <a:ext cx="19077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Baskerville" charset="0"/>
                <a:ea typeface="Baskerville" charset="0"/>
                <a:cs typeface="Baskerville" charset="0"/>
              </a:rPr>
              <a:t>Delivery is slightly delayed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10293122" y="5482467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Baskerville" charset="0"/>
                <a:ea typeface="Baskerville" charset="0"/>
                <a:cs typeface="Baskerville" charset="0"/>
              </a:rPr>
              <a:t>Delivery is significantly delayed</a:t>
            </a:r>
          </a:p>
        </p:txBody>
      </p:sp>
      <p:sp>
        <p:nvSpPr>
          <p:cNvPr id="86" name="Rounded Rectangle 85"/>
          <p:cNvSpPr/>
          <p:nvPr/>
        </p:nvSpPr>
        <p:spPr bwMode="auto">
          <a:xfrm>
            <a:off x="1474507" y="3996951"/>
            <a:ext cx="360040" cy="8640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98" name="Oval 97"/>
          <p:cNvSpPr/>
          <p:nvPr/>
        </p:nvSpPr>
        <p:spPr bwMode="auto">
          <a:xfrm>
            <a:off x="1546514" y="4060575"/>
            <a:ext cx="216024" cy="21602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00" name="Oval 99"/>
          <p:cNvSpPr/>
          <p:nvPr/>
        </p:nvSpPr>
        <p:spPr bwMode="auto">
          <a:xfrm>
            <a:off x="1546514" y="4320987"/>
            <a:ext cx="216024" cy="216024"/>
          </a:xfrm>
          <a:prstGeom prst="ellipse">
            <a:avLst/>
          </a:prstGeom>
          <a:solidFill>
            <a:srgbClr val="FFD1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01" name="Oval 100"/>
          <p:cNvSpPr/>
          <p:nvPr/>
        </p:nvSpPr>
        <p:spPr bwMode="auto">
          <a:xfrm>
            <a:off x="1546514" y="4581399"/>
            <a:ext cx="216024" cy="21602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02" name="Rounded Rectangle 101"/>
          <p:cNvSpPr/>
          <p:nvPr/>
        </p:nvSpPr>
        <p:spPr bwMode="auto">
          <a:xfrm>
            <a:off x="1474507" y="5360479"/>
            <a:ext cx="360040" cy="8640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03" name="Oval 102"/>
          <p:cNvSpPr/>
          <p:nvPr/>
        </p:nvSpPr>
        <p:spPr bwMode="auto">
          <a:xfrm>
            <a:off x="1546514" y="5424103"/>
            <a:ext cx="216024" cy="21602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04" name="Oval 103"/>
          <p:cNvSpPr/>
          <p:nvPr/>
        </p:nvSpPr>
        <p:spPr bwMode="auto">
          <a:xfrm>
            <a:off x="1546514" y="5684515"/>
            <a:ext cx="216024" cy="21602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05" name="Oval 104"/>
          <p:cNvSpPr/>
          <p:nvPr/>
        </p:nvSpPr>
        <p:spPr bwMode="auto">
          <a:xfrm>
            <a:off x="1546514" y="5944927"/>
            <a:ext cx="216024" cy="216024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2458616" y="2349452"/>
            <a:ext cx="1608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XXX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2458616" y="3724324"/>
            <a:ext cx="1608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XXX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2458616" y="5102906"/>
            <a:ext cx="1608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XXX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4858883" y="2349452"/>
            <a:ext cx="1608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XXX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4858883" y="3724324"/>
            <a:ext cx="1608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XXX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4858883" y="5102906"/>
            <a:ext cx="1608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XXX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7768175" y="2349452"/>
            <a:ext cx="1608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XXX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7768175" y="3724324"/>
            <a:ext cx="1608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XXX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7768175" y="5102906"/>
            <a:ext cx="1608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  <a:buSzPct val="120000"/>
              <a:buFont typeface="Symbol"/>
              <a:buChar char="·"/>
            </a:pP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XXX</a:t>
            </a:r>
          </a:p>
        </p:txBody>
      </p:sp>
      <p:sp>
        <p:nvSpPr>
          <p:cNvPr id="127" name="Isosceles Triangle 9"/>
          <p:cNvSpPr/>
          <p:nvPr/>
        </p:nvSpPr>
        <p:spPr bwMode="auto">
          <a:xfrm rot="5400000">
            <a:off x="4050948" y="4222291"/>
            <a:ext cx="1102876" cy="199931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28" name="Isosceles Triangle 10"/>
          <p:cNvSpPr/>
          <p:nvPr/>
        </p:nvSpPr>
        <p:spPr bwMode="auto">
          <a:xfrm rot="5400000">
            <a:off x="6984147" y="4222291"/>
            <a:ext cx="1102875" cy="199931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29" name="Isosceles Triangle 9"/>
          <p:cNvSpPr/>
          <p:nvPr/>
        </p:nvSpPr>
        <p:spPr bwMode="auto">
          <a:xfrm rot="5400000">
            <a:off x="4035397" y="5643654"/>
            <a:ext cx="1102876" cy="199931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30" name="Isosceles Triangle 10"/>
          <p:cNvSpPr/>
          <p:nvPr/>
        </p:nvSpPr>
        <p:spPr bwMode="auto">
          <a:xfrm rot="5400000">
            <a:off x="6968596" y="5643654"/>
            <a:ext cx="1102875" cy="199931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Baskerville" charset="0"/>
              <a:ea typeface="Baskerville" charset="0"/>
              <a:cs typeface="Baskervill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654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cHrq6DHEKcrlZ_NC8P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84GU3y0yetinrGCFw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PSjwRT806skqQT_Zqo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Nyz8iFu02lzLPVmOg3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yuEbMR1Ei2i6XP0Pml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cHrq6DHEKcrlZ_NC8P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84GU3y0yetinrGCFw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Nyz8iFu02lzLPVmOg3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Nyz8iFu02lzLPVmOg3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7chzGbX0OhJU5LqGOL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jgmqH0vkmwVpouSDiu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jgmqH0vkmwVpouSDiu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jgmqH0vkmwVpouSDiu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yuEbMR1Ei2i6XP0Pml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6d4WseHUOZUDq4SGFg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6d4WseHUOZUDq4SGFg8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jgmqH0vkmwVpouSDiu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jgmqH0vkmwVpouSDiu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jgmqH0vkmwVpouSDiu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_QY_19mEWBz8sBGHyX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5kKIXgBEO.7hEj9Zlw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Jj2h.KHUWpBhEYDx1_A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KzuOEIrEywquSfQBZXD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vN4Yi1QkazoeDvjG6P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YN_AlvmkSL32RlNphAw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tzKzhUxEC8kaonXCG4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OMlrnCUC2Jcfio1QCJ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mhnZT_Xky_MmKsFT2P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3Kk6_4U0WuHh4AKCQV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W8q0v2Akmu3Cpj.DLt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gvzj18kkCmZ6QJFnvL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HS7KhHpk._RFHIzhQt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MWrjP4uEqoWKJ0whAF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_zKRMVQkezW.rCFJXD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4dA_wJjkmXkdISp0kA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hoJFhJUOmhcH6vn290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y1k0gr3EOIWQCCVJzC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kgUkYsFEuePt6DDfuN0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.dWhPFW0iAqJOTuEWb2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1f5GJTr0mEGGpV.nXql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EsY_qMJUG1oT.s7GhQz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hg2ZhH_kOqeWMkMlHg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ueT_ZEmu8GuKeQ_4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vHaXng2Uap3Uw2iEY1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mVntub40y1CPa6bfSfz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jT6AF4ykSSkAtVXGO.U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AF0GvLjkKBbM.D6bLg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ePlknwb0u0DSIgasz3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Nyz8iFu02lzLPVmOg3i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m0f8dpEUuaq2yt6mIV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ZCIj_V8UyVGWikp5cr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kRjrc74kegumu1dJFzH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fOK0vShU.Qz8zLC5j5L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B8p7NXmU6ZaKSXYjlf6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KqPB9zjUuZHR06_EE4B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A25dLAaES.MxJM_kmx9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oMIGSjS0qF.8Snw2TGB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m4sAU__kO3OGXUCpkwS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ndHpMymEWgPi4p1fyf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eFoeHyLUe_V81Pqh7aL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qboWrjHUuGJKJB24.mJ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pmOwr3rkWg_Kp5aDay3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GhbndOIUKGkksx15hT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K_Tr7zB0Ss8Y8bW6JC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PSjwRT806skqQT_Zqo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yuEbMR1Ei2i6XP0PmlZg"/>
</p:tagLst>
</file>

<file path=ppt/theme/theme1.xml><?xml version="1.0" encoding="utf-8"?>
<a:theme xmlns:a="http://schemas.openxmlformats.org/drawingml/2006/main" name="1_Office Theme">
  <a:themeElements>
    <a:clrScheme name="Violet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234</Words>
  <Application>Microsoft Macintosh PowerPoint</Application>
  <PresentationFormat>Widescreen</PresentationFormat>
  <Paragraphs>119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.AppleSystemUIFont</vt:lpstr>
      <vt:lpstr>Baskerville</vt:lpstr>
      <vt:lpstr>Calibri</vt:lpstr>
      <vt:lpstr>Frutiger 55 Roman</vt:lpstr>
      <vt:lpstr>Symbol</vt:lpstr>
      <vt:lpstr>Arial</vt:lpstr>
      <vt:lpstr>Wingdings</vt:lpstr>
      <vt:lpstr>1_Office Theme</vt:lpstr>
      <vt:lpstr>think-cell Slide</vt:lpstr>
      <vt:lpstr>Chart</vt:lpstr>
      <vt:lpstr>SCQ - TEMPLATE</vt:lpstr>
      <vt:lpstr>Scope - TEMPLATE</vt:lpstr>
      <vt:lpstr>High Level Plan – TEMPLATE</vt:lpstr>
      <vt:lpstr>Program Organization - TEMPLATE</vt:lpstr>
      <vt:lpstr>Impact Reporting - TEMPLATE</vt:lpstr>
      <vt:lpstr>Status Reporting - TEMPLATE</vt:lpstr>
    </vt:vector>
  </TitlesOfParts>
  <Company/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Q - Template</dc:title>
  <dc:creator>Microsoft Office User</dc:creator>
  <cp:lastModifiedBy>Microsoft Office User</cp:lastModifiedBy>
  <cp:revision>7</cp:revision>
  <dcterms:created xsi:type="dcterms:W3CDTF">2020-09-29T10:43:10Z</dcterms:created>
  <dcterms:modified xsi:type="dcterms:W3CDTF">2022-07-07T16:16:39Z</dcterms:modified>
</cp:coreProperties>
</file>